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43" r:id="rId6"/>
    <p:sldMasterId id="2147483756" r:id="rId7"/>
    <p:sldMasterId id="2147483815" r:id="rId8"/>
    <p:sldMasterId id="2147483838" r:id="rId9"/>
  </p:sldMasterIdLst>
  <p:notesMasterIdLst>
    <p:notesMasterId r:id="rId69"/>
  </p:notesMasterIdLst>
  <p:handoutMasterIdLst>
    <p:handoutMasterId r:id="rId70"/>
  </p:handoutMasterIdLst>
  <p:sldIdLst>
    <p:sldId id="286" r:id="rId10"/>
    <p:sldId id="392" r:id="rId11"/>
    <p:sldId id="417" r:id="rId12"/>
    <p:sldId id="416" r:id="rId13"/>
    <p:sldId id="428" r:id="rId14"/>
    <p:sldId id="432" r:id="rId15"/>
    <p:sldId id="390" r:id="rId16"/>
    <p:sldId id="388" r:id="rId17"/>
    <p:sldId id="422" r:id="rId18"/>
    <p:sldId id="438" r:id="rId19"/>
    <p:sldId id="424" r:id="rId20"/>
    <p:sldId id="436" r:id="rId21"/>
    <p:sldId id="437" r:id="rId22"/>
    <p:sldId id="423" r:id="rId23"/>
    <p:sldId id="343" r:id="rId24"/>
    <p:sldId id="425" r:id="rId25"/>
    <p:sldId id="401" r:id="rId26"/>
    <p:sldId id="403" r:id="rId27"/>
    <p:sldId id="426" r:id="rId28"/>
    <p:sldId id="429" r:id="rId29"/>
    <p:sldId id="399" r:id="rId30"/>
    <p:sldId id="400" r:id="rId31"/>
    <p:sldId id="427" r:id="rId32"/>
    <p:sldId id="393" r:id="rId33"/>
    <p:sldId id="394" r:id="rId34"/>
    <p:sldId id="406" r:id="rId35"/>
    <p:sldId id="421" r:id="rId36"/>
    <p:sldId id="381" r:id="rId37"/>
    <p:sldId id="378" r:id="rId38"/>
    <p:sldId id="410" r:id="rId39"/>
    <p:sldId id="379" r:id="rId40"/>
    <p:sldId id="439" r:id="rId41"/>
    <p:sldId id="407" r:id="rId42"/>
    <p:sldId id="369" r:id="rId43"/>
    <p:sldId id="433" r:id="rId44"/>
    <p:sldId id="386" r:id="rId45"/>
    <p:sldId id="431" r:id="rId46"/>
    <p:sldId id="387" r:id="rId47"/>
    <p:sldId id="353" r:id="rId48"/>
    <p:sldId id="354" r:id="rId49"/>
    <p:sldId id="434" r:id="rId50"/>
    <p:sldId id="355" r:id="rId51"/>
    <p:sldId id="356" r:id="rId52"/>
    <p:sldId id="357" r:id="rId53"/>
    <p:sldId id="358" r:id="rId54"/>
    <p:sldId id="435" r:id="rId55"/>
    <p:sldId id="359" r:id="rId56"/>
    <p:sldId id="371" r:id="rId57"/>
    <p:sldId id="348" r:id="rId58"/>
    <p:sldId id="384" r:id="rId59"/>
    <p:sldId id="349" r:id="rId60"/>
    <p:sldId id="350" r:id="rId61"/>
    <p:sldId id="351" r:id="rId62"/>
    <p:sldId id="352" r:id="rId63"/>
    <p:sldId id="367" r:id="rId64"/>
    <p:sldId id="408" r:id="rId65"/>
    <p:sldId id="373" r:id="rId66"/>
    <p:sldId id="441" r:id="rId67"/>
    <p:sldId id="442"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8A682A-2C6B-4471-B181-63C35B14238E}">
          <p14:sldIdLst>
            <p14:sldId id="286"/>
            <p14:sldId id="392"/>
            <p14:sldId id="417"/>
            <p14:sldId id="416"/>
            <p14:sldId id="428"/>
            <p14:sldId id="432"/>
            <p14:sldId id="390"/>
            <p14:sldId id="388"/>
            <p14:sldId id="422"/>
            <p14:sldId id="438"/>
            <p14:sldId id="424"/>
            <p14:sldId id="436"/>
            <p14:sldId id="437"/>
            <p14:sldId id="423"/>
            <p14:sldId id="343"/>
            <p14:sldId id="425"/>
            <p14:sldId id="401"/>
            <p14:sldId id="403"/>
            <p14:sldId id="426"/>
            <p14:sldId id="429"/>
            <p14:sldId id="399"/>
            <p14:sldId id="400"/>
            <p14:sldId id="427"/>
            <p14:sldId id="393"/>
            <p14:sldId id="394"/>
            <p14:sldId id="406"/>
            <p14:sldId id="421"/>
            <p14:sldId id="381"/>
            <p14:sldId id="378"/>
            <p14:sldId id="410"/>
            <p14:sldId id="379"/>
            <p14:sldId id="439"/>
            <p14:sldId id="407"/>
            <p14:sldId id="369"/>
            <p14:sldId id="433"/>
            <p14:sldId id="386"/>
            <p14:sldId id="431"/>
            <p14:sldId id="387"/>
            <p14:sldId id="353"/>
            <p14:sldId id="354"/>
            <p14:sldId id="434"/>
            <p14:sldId id="355"/>
            <p14:sldId id="356"/>
            <p14:sldId id="357"/>
            <p14:sldId id="358"/>
            <p14:sldId id="435"/>
            <p14:sldId id="359"/>
            <p14:sldId id="371"/>
            <p14:sldId id="348"/>
            <p14:sldId id="384"/>
            <p14:sldId id="349"/>
            <p14:sldId id="350"/>
            <p14:sldId id="351"/>
            <p14:sldId id="352"/>
            <p14:sldId id="367"/>
            <p14:sldId id="408"/>
            <p14:sldId id="373"/>
            <p14:sldId id="441"/>
            <p14:sldId id="442"/>
          </p14:sldIdLst>
        </p14:section>
        <p14:section name="Archive" id="{B18D0A32-9AA0-4E52-A5EA-E4B8E98E0EFC}">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002050"/>
    <a:srgbClr val="007233"/>
    <a:srgbClr val="86C400"/>
    <a:srgbClr val="82BF36"/>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59618" autoAdjust="0"/>
  </p:normalViewPr>
  <p:slideViewPr>
    <p:cSldViewPr snapToGrid="0">
      <p:cViewPr varScale="1">
        <p:scale>
          <a:sx n="54" d="100"/>
          <a:sy n="54" d="100"/>
        </p:scale>
        <p:origin x="1830" y="72"/>
      </p:cViewPr>
      <p:guideLst/>
    </p:cSldViewPr>
  </p:slideViewPr>
  <p:outlineViewPr>
    <p:cViewPr>
      <p:scale>
        <a:sx n="33" d="100"/>
        <a:sy n="33" d="100"/>
      </p:scale>
      <p:origin x="0" y="-632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handoutMaster" Target="handoutMasters/handoutMaster1.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ladhi Mehta" userId="09dbf198-c652-479e-8ad2-cbca5678e10c" providerId="ADAL" clId="{CD98893D-6E01-437B-B8D6-6888F04089FD}"/>
    <pc:docChg chg="undo custSel addSld delSld modSld sldOrd modSection">
      <pc:chgData name="Jaladhi Mehta" userId="09dbf198-c652-479e-8ad2-cbca5678e10c" providerId="ADAL" clId="{CD98893D-6E01-437B-B8D6-6888F04089FD}" dt="2017-12-11T23:19:47.143" v="4325" actId="6549"/>
      <pc:docMkLst>
        <pc:docMk/>
      </pc:docMkLst>
      <pc:sldChg chg="del">
        <pc:chgData name="Jaladhi Mehta" userId="09dbf198-c652-479e-8ad2-cbca5678e10c" providerId="ADAL" clId="{CD98893D-6E01-437B-B8D6-6888F04089FD}" dt="2017-12-11T23:19:09.987" v="4307" actId="2696"/>
        <pc:sldMkLst>
          <pc:docMk/>
          <pc:sldMk cId="255798916" sldId="282"/>
        </pc:sldMkLst>
      </pc:sldChg>
      <pc:sldChg chg="modNotesTx">
        <pc:chgData name="Jaladhi Mehta" userId="09dbf198-c652-479e-8ad2-cbca5678e10c" providerId="ADAL" clId="{CD98893D-6E01-437B-B8D6-6888F04089FD}" dt="2017-12-11T23:19:47.143" v="4325" actId="6549"/>
        <pc:sldMkLst>
          <pc:docMk/>
          <pc:sldMk cId="1630196487" sldId="286"/>
        </pc:sldMkLst>
      </pc:sldChg>
      <pc:sldChg chg="modNotesTx">
        <pc:chgData name="Jaladhi Mehta" userId="09dbf198-c652-479e-8ad2-cbca5678e10c" providerId="ADAL" clId="{CD98893D-6E01-437B-B8D6-6888F04089FD}" dt="2017-12-10T20:18:24.068" v="2280" actId="20577"/>
        <pc:sldMkLst>
          <pc:docMk/>
          <pc:sldMk cId="2834687445" sldId="348"/>
        </pc:sldMkLst>
      </pc:sldChg>
      <pc:sldChg chg="modNotesTx">
        <pc:chgData name="Jaladhi Mehta" userId="09dbf198-c652-479e-8ad2-cbca5678e10c" providerId="ADAL" clId="{CD98893D-6E01-437B-B8D6-6888F04089FD}" dt="2017-12-10T20:17:06.596" v="2278" actId="6549"/>
        <pc:sldMkLst>
          <pc:docMk/>
          <pc:sldMk cId="2298907651" sldId="349"/>
        </pc:sldMkLst>
      </pc:sldChg>
      <pc:sldChg chg="modNotesTx">
        <pc:chgData name="Jaladhi Mehta" userId="09dbf198-c652-479e-8ad2-cbca5678e10c" providerId="ADAL" clId="{CD98893D-6E01-437B-B8D6-6888F04089FD}" dt="2017-12-10T19:53:57.737" v="2011" actId="20577"/>
        <pc:sldMkLst>
          <pc:docMk/>
          <pc:sldMk cId="1654855184" sldId="354"/>
        </pc:sldMkLst>
      </pc:sldChg>
      <pc:sldChg chg="modNotesTx">
        <pc:chgData name="Jaladhi Mehta" userId="09dbf198-c652-479e-8ad2-cbca5678e10c" providerId="ADAL" clId="{CD98893D-6E01-437B-B8D6-6888F04089FD}" dt="2017-12-10T20:09:50.018" v="2171" actId="20577"/>
        <pc:sldMkLst>
          <pc:docMk/>
          <pc:sldMk cId="508599111" sldId="356"/>
        </pc:sldMkLst>
      </pc:sldChg>
      <pc:sldChg chg="addSp delSp">
        <pc:chgData name="Jaladhi Mehta" userId="09dbf198-c652-479e-8ad2-cbca5678e10c" providerId="ADAL" clId="{CD98893D-6E01-437B-B8D6-6888F04089FD}" dt="2017-12-10T20:12:14.042" v="2175" actId="6549"/>
        <pc:sldMkLst>
          <pc:docMk/>
          <pc:sldMk cId="1620551252" sldId="359"/>
        </pc:sldMkLst>
        <pc:picChg chg="add del">
          <ac:chgData name="Jaladhi Mehta" userId="09dbf198-c652-479e-8ad2-cbca5678e10c" providerId="ADAL" clId="{CD98893D-6E01-437B-B8D6-6888F04089FD}" dt="2017-12-10T20:12:14.042" v="2175" actId="6549"/>
          <ac:picMkLst>
            <pc:docMk/>
            <pc:sldMk cId="1620551252" sldId="359"/>
            <ac:picMk id="4" creationId="{6FEA3A52-ED9A-4A58-B3E6-3055B10FD7EE}"/>
          </ac:picMkLst>
        </pc:picChg>
      </pc:sldChg>
      <pc:sldChg chg="modSp">
        <pc:chgData name="Jaladhi Mehta" userId="09dbf198-c652-479e-8ad2-cbca5678e10c" providerId="ADAL" clId="{CD98893D-6E01-437B-B8D6-6888F04089FD}" dt="2017-12-10T20:15:11.681" v="2182" actId="20577"/>
        <pc:sldMkLst>
          <pc:docMk/>
          <pc:sldMk cId="209214089" sldId="367"/>
        </pc:sldMkLst>
        <pc:spChg chg="mod">
          <ac:chgData name="Jaladhi Mehta" userId="09dbf198-c652-479e-8ad2-cbca5678e10c" providerId="ADAL" clId="{CD98893D-6E01-437B-B8D6-6888F04089FD}" dt="2017-12-10T20:15:11.681" v="2182" actId="20577"/>
          <ac:spMkLst>
            <pc:docMk/>
            <pc:sldMk cId="209214089" sldId="367"/>
            <ac:spMk id="3" creationId="{00000000-0000-0000-0000-000000000000}"/>
          </ac:spMkLst>
        </pc:spChg>
      </pc:sldChg>
      <pc:sldChg chg="modNotesTx">
        <pc:chgData name="Jaladhi Mehta" userId="09dbf198-c652-479e-8ad2-cbca5678e10c" providerId="ADAL" clId="{CD98893D-6E01-437B-B8D6-6888F04089FD}" dt="2017-12-11T02:10:32.668" v="2908" actId="20577"/>
        <pc:sldMkLst>
          <pc:docMk/>
          <pc:sldMk cId="2939342154" sldId="369"/>
        </pc:sldMkLst>
      </pc:sldChg>
      <pc:sldChg chg="modNotesTx">
        <pc:chgData name="Jaladhi Mehta" userId="09dbf198-c652-479e-8ad2-cbca5678e10c" providerId="ADAL" clId="{CD98893D-6E01-437B-B8D6-6888F04089FD}" dt="2017-12-11T23:12:12.349" v="4063" actId="20577"/>
        <pc:sldMkLst>
          <pc:docMk/>
          <pc:sldMk cId="3365614885" sldId="373"/>
        </pc:sldMkLst>
      </pc:sldChg>
      <pc:sldChg chg="ord modNotesTx">
        <pc:chgData name="Jaladhi Mehta" userId="09dbf198-c652-479e-8ad2-cbca5678e10c" providerId="ADAL" clId="{CD98893D-6E01-437B-B8D6-6888F04089FD}" dt="2017-12-11T18:58:47.264" v="3658" actId="6549"/>
        <pc:sldMkLst>
          <pc:docMk/>
          <pc:sldMk cId="2280124696" sldId="381"/>
        </pc:sldMkLst>
      </pc:sldChg>
      <pc:sldChg chg="ord">
        <pc:chgData name="Jaladhi Mehta" userId="09dbf198-c652-479e-8ad2-cbca5678e10c" providerId="ADAL" clId="{CD98893D-6E01-437B-B8D6-6888F04089FD}" dt="2017-12-09T14:25:12.366" v="240" actId="6549"/>
        <pc:sldMkLst>
          <pc:docMk/>
          <pc:sldMk cId="2352830950" sldId="386"/>
        </pc:sldMkLst>
      </pc:sldChg>
      <pc:sldChg chg="addSp delSp ord">
        <pc:chgData name="Jaladhi Mehta" userId="09dbf198-c652-479e-8ad2-cbca5678e10c" providerId="ADAL" clId="{CD98893D-6E01-437B-B8D6-6888F04089FD}" dt="2017-12-09T14:25:12.366" v="240" actId="6549"/>
        <pc:sldMkLst>
          <pc:docMk/>
          <pc:sldMk cId="2551645862" sldId="387"/>
        </pc:sldMkLst>
        <pc:picChg chg="add del">
          <ac:chgData name="Jaladhi Mehta" userId="09dbf198-c652-479e-8ad2-cbca5678e10c" providerId="ADAL" clId="{CD98893D-6E01-437B-B8D6-6888F04089FD}" dt="2017-12-09T14:20:11.896" v="219" actId="6549"/>
          <ac:picMkLst>
            <pc:docMk/>
            <pc:sldMk cId="2551645862" sldId="387"/>
            <ac:picMk id="4" creationId="{80C831B2-098E-482E-965C-EB0BF8DB851A}"/>
          </ac:picMkLst>
        </pc:picChg>
      </pc:sldChg>
      <pc:sldChg chg="modSp">
        <pc:chgData name="Jaladhi Mehta" userId="09dbf198-c652-479e-8ad2-cbca5678e10c" providerId="ADAL" clId="{CD98893D-6E01-437B-B8D6-6888F04089FD}" dt="2017-12-10T17:58:18.798" v="1293" actId="20577"/>
        <pc:sldMkLst>
          <pc:docMk/>
          <pc:sldMk cId="1869063355" sldId="388"/>
        </pc:sldMkLst>
        <pc:spChg chg="mod">
          <ac:chgData name="Jaladhi Mehta" userId="09dbf198-c652-479e-8ad2-cbca5678e10c" providerId="ADAL" clId="{CD98893D-6E01-437B-B8D6-6888F04089FD}" dt="2017-12-10T17:58:18.798" v="1293" actId="20577"/>
          <ac:spMkLst>
            <pc:docMk/>
            <pc:sldMk cId="1869063355" sldId="388"/>
            <ac:spMk id="3" creationId="{00000000-0000-0000-0000-000000000000}"/>
          </ac:spMkLst>
        </pc:spChg>
      </pc:sldChg>
      <pc:sldChg chg="ord modNotesTx">
        <pc:chgData name="Jaladhi Mehta" userId="09dbf198-c652-479e-8ad2-cbca5678e10c" providerId="ADAL" clId="{CD98893D-6E01-437B-B8D6-6888F04089FD}" dt="2017-12-10T17:51:06.846" v="1271" actId="20577"/>
        <pc:sldMkLst>
          <pc:docMk/>
          <pc:sldMk cId="2111837226" sldId="390"/>
        </pc:sldMkLst>
      </pc:sldChg>
      <pc:sldChg chg="modSp ord modNotesTx">
        <pc:chgData name="Jaladhi Mehta" userId="09dbf198-c652-479e-8ad2-cbca5678e10c" providerId="ADAL" clId="{CD98893D-6E01-437B-B8D6-6888F04089FD}" dt="2017-12-10T21:59:22.701" v="2478" actId="20577"/>
        <pc:sldMkLst>
          <pc:docMk/>
          <pc:sldMk cId="2563065690" sldId="392"/>
        </pc:sldMkLst>
        <pc:spChg chg="mod">
          <ac:chgData name="Jaladhi Mehta" userId="09dbf198-c652-479e-8ad2-cbca5678e10c" providerId="ADAL" clId="{CD98893D-6E01-437B-B8D6-6888F04089FD}" dt="2017-12-10T21:59:22.701" v="2478" actId="20577"/>
          <ac:spMkLst>
            <pc:docMk/>
            <pc:sldMk cId="2563065690" sldId="392"/>
            <ac:spMk id="2" creationId="{00000000-0000-0000-0000-000000000000}"/>
          </ac:spMkLst>
        </pc:spChg>
        <pc:spChg chg="mod">
          <ac:chgData name="Jaladhi Mehta" userId="09dbf198-c652-479e-8ad2-cbca5678e10c" providerId="ADAL" clId="{CD98893D-6E01-437B-B8D6-6888F04089FD}" dt="2017-12-09T14:08:47.991" v="14" actId="20577"/>
          <ac:spMkLst>
            <pc:docMk/>
            <pc:sldMk cId="2563065690" sldId="392"/>
            <ac:spMk id="3" creationId="{00000000-0000-0000-0000-000000000000}"/>
          </ac:spMkLst>
        </pc:spChg>
      </pc:sldChg>
      <pc:sldChg chg="ord modTransition">
        <pc:chgData name="Jaladhi Mehta" userId="09dbf198-c652-479e-8ad2-cbca5678e10c" providerId="ADAL" clId="{CD98893D-6E01-437B-B8D6-6888F04089FD}" dt="2017-12-10T18:45:10.954" v="1977" actId="6549"/>
        <pc:sldMkLst>
          <pc:docMk/>
          <pc:sldMk cId="3918739013" sldId="399"/>
        </pc:sldMkLst>
      </pc:sldChg>
      <pc:sldChg chg="ord">
        <pc:chgData name="Jaladhi Mehta" userId="09dbf198-c652-479e-8ad2-cbca5678e10c" providerId="ADAL" clId="{CD98893D-6E01-437B-B8D6-6888F04089FD}" dt="2017-12-09T14:16:28.359" v="209" actId="6549"/>
        <pc:sldMkLst>
          <pc:docMk/>
          <pc:sldMk cId="3836025127" sldId="400"/>
        </pc:sldMkLst>
      </pc:sldChg>
      <pc:sldChg chg="ord">
        <pc:chgData name="Jaladhi Mehta" userId="09dbf198-c652-479e-8ad2-cbca5678e10c" providerId="ADAL" clId="{CD98893D-6E01-437B-B8D6-6888F04089FD}" dt="2017-12-09T14:16:07.326" v="207" actId="6549"/>
        <pc:sldMkLst>
          <pc:docMk/>
          <pc:sldMk cId="47629020" sldId="401"/>
        </pc:sldMkLst>
      </pc:sldChg>
      <pc:sldChg chg="del">
        <pc:chgData name="Jaladhi Mehta" userId="09dbf198-c652-479e-8ad2-cbca5678e10c" providerId="ADAL" clId="{CD98893D-6E01-437B-B8D6-6888F04089FD}" dt="2017-12-11T21:31:15.488" v="3760" actId="2696"/>
        <pc:sldMkLst>
          <pc:docMk/>
          <pc:sldMk cId="1461066718" sldId="402"/>
        </pc:sldMkLst>
      </pc:sldChg>
      <pc:sldChg chg="ord modNotesTx">
        <pc:chgData name="Jaladhi Mehta" userId="09dbf198-c652-479e-8ad2-cbca5678e10c" providerId="ADAL" clId="{CD98893D-6E01-437B-B8D6-6888F04089FD}" dt="2017-12-10T22:26:36.947" v="2713" actId="20577"/>
        <pc:sldMkLst>
          <pc:docMk/>
          <pc:sldMk cId="1969238703" sldId="403"/>
        </pc:sldMkLst>
      </pc:sldChg>
      <pc:sldChg chg="modNotesTx">
        <pc:chgData name="Jaladhi Mehta" userId="09dbf198-c652-479e-8ad2-cbca5678e10c" providerId="ADAL" clId="{CD98893D-6E01-437B-B8D6-6888F04089FD}" dt="2017-12-11T16:45:19.613" v="3134" actId="5793"/>
        <pc:sldMkLst>
          <pc:docMk/>
          <pc:sldMk cId="3229355576" sldId="410"/>
        </pc:sldMkLst>
      </pc:sldChg>
      <pc:sldChg chg="modSp del">
        <pc:chgData name="Jaladhi Mehta" userId="09dbf198-c652-479e-8ad2-cbca5678e10c" providerId="ADAL" clId="{CD98893D-6E01-437B-B8D6-6888F04089FD}" dt="2017-12-11T22:17:49.124" v="3761" actId="2696"/>
        <pc:sldMkLst>
          <pc:docMk/>
          <pc:sldMk cId="1805634533" sldId="411"/>
        </pc:sldMkLst>
        <pc:spChg chg="mod">
          <ac:chgData name="Jaladhi Mehta" userId="09dbf198-c652-479e-8ad2-cbca5678e10c" providerId="ADAL" clId="{CD98893D-6E01-437B-B8D6-6888F04089FD}" dt="2017-12-09T14:25:46.989" v="243" actId="6549"/>
          <ac:spMkLst>
            <pc:docMk/>
            <pc:sldMk cId="1805634533" sldId="411"/>
            <ac:spMk id="2" creationId="{00000000-0000-0000-0000-000000000000}"/>
          </ac:spMkLst>
        </pc:spChg>
      </pc:sldChg>
      <pc:sldChg chg="del">
        <pc:chgData name="Jaladhi Mehta" userId="09dbf198-c652-479e-8ad2-cbca5678e10c" providerId="ADAL" clId="{CD98893D-6E01-437B-B8D6-6888F04089FD}" dt="2017-12-11T21:31:12.914" v="3759" actId="2696"/>
        <pc:sldMkLst>
          <pc:docMk/>
          <pc:sldMk cId="1024784894" sldId="415"/>
        </pc:sldMkLst>
      </pc:sldChg>
      <pc:sldChg chg="modSp modNotesTx">
        <pc:chgData name="Jaladhi Mehta" userId="09dbf198-c652-479e-8ad2-cbca5678e10c" providerId="ADAL" clId="{CD98893D-6E01-437B-B8D6-6888F04089FD}" dt="2017-12-10T22:11:13.023" v="2711" actId="313"/>
        <pc:sldMkLst>
          <pc:docMk/>
          <pc:sldMk cId="3971755458" sldId="416"/>
        </pc:sldMkLst>
        <pc:spChg chg="mod">
          <ac:chgData name="Jaladhi Mehta" userId="09dbf198-c652-479e-8ad2-cbca5678e10c" providerId="ADAL" clId="{CD98893D-6E01-437B-B8D6-6888F04089FD}" dt="2017-12-10T22:11:13.023" v="2711" actId="313"/>
          <ac:spMkLst>
            <pc:docMk/>
            <pc:sldMk cId="3971755458" sldId="416"/>
            <ac:spMk id="6" creationId="{B05C5311-C87B-4F51-BF19-10BE39BF7AAD}"/>
          </ac:spMkLst>
        </pc:spChg>
      </pc:sldChg>
      <pc:sldChg chg="ord modNotesTx">
        <pc:chgData name="Jaladhi Mehta" userId="09dbf198-c652-479e-8ad2-cbca5678e10c" providerId="ADAL" clId="{CD98893D-6E01-437B-B8D6-6888F04089FD}" dt="2017-12-10T17:44:45.049" v="630" actId="20577"/>
        <pc:sldMkLst>
          <pc:docMk/>
          <pc:sldMk cId="789671782" sldId="417"/>
        </pc:sldMkLst>
      </pc:sldChg>
      <pc:sldChg chg="modSp ord modNotesTx">
        <pc:chgData name="Jaladhi Mehta" userId="09dbf198-c652-479e-8ad2-cbca5678e10c" providerId="ADAL" clId="{CD98893D-6E01-437B-B8D6-6888F04089FD}" dt="2017-12-10T22:34:51.289" v="2842" actId="6549"/>
        <pc:sldMkLst>
          <pc:docMk/>
          <pc:sldMk cId="894035286" sldId="421"/>
        </pc:sldMkLst>
        <pc:spChg chg="mod">
          <ac:chgData name="Jaladhi Mehta" userId="09dbf198-c652-479e-8ad2-cbca5678e10c" providerId="ADAL" clId="{CD98893D-6E01-437B-B8D6-6888F04089FD}" dt="2017-12-10T18:19:12.306" v="1357" actId="20577"/>
          <ac:spMkLst>
            <pc:docMk/>
            <pc:sldMk cId="894035286" sldId="421"/>
            <ac:spMk id="2" creationId="{93196677-291E-4399-8FB8-3556419B38DD}"/>
          </ac:spMkLst>
        </pc:spChg>
        <pc:spChg chg="mod">
          <ac:chgData name="Jaladhi Mehta" userId="09dbf198-c652-479e-8ad2-cbca5678e10c" providerId="ADAL" clId="{CD98893D-6E01-437B-B8D6-6888F04089FD}" dt="2017-12-10T18:38:01.089" v="1952" actId="20577"/>
          <ac:spMkLst>
            <pc:docMk/>
            <pc:sldMk cId="894035286" sldId="421"/>
            <ac:spMk id="3" creationId="{D4618DC7-BA32-4A20-9ADE-4297FCADDE7F}"/>
          </ac:spMkLst>
        </pc:spChg>
      </pc:sldChg>
      <pc:sldChg chg="modSp modNotesTx">
        <pc:chgData name="Jaladhi Mehta" userId="09dbf198-c652-479e-8ad2-cbca5678e10c" providerId="ADAL" clId="{CD98893D-6E01-437B-B8D6-6888F04089FD}" dt="2017-12-10T18:37:05.771" v="1942" actId="6549"/>
        <pc:sldMkLst>
          <pc:docMk/>
          <pc:sldMk cId="3407995950" sldId="422"/>
        </pc:sldMkLst>
        <pc:spChg chg="mod">
          <ac:chgData name="Jaladhi Mehta" userId="09dbf198-c652-479e-8ad2-cbca5678e10c" providerId="ADAL" clId="{CD98893D-6E01-437B-B8D6-6888F04089FD}" dt="2017-12-10T18:37:05.771" v="1942" actId="6549"/>
          <ac:spMkLst>
            <pc:docMk/>
            <pc:sldMk cId="3407995950" sldId="422"/>
            <ac:spMk id="3" creationId="{503E1FFA-29D7-4460-8184-82DB6ED93A57}"/>
          </ac:spMkLst>
        </pc:spChg>
      </pc:sldChg>
      <pc:sldChg chg="modSp">
        <pc:chgData name="Jaladhi Mehta" userId="09dbf198-c652-479e-8ad2-cbca5678e10c" providerId="ADAL" clId="{CD98893D-6E01-437B-B8D6-6888F04089FD}" dt="2017-12-10T18:45:43.160" v="1981" actId="20577"/>
        <pc:sldMkLst>
          <pc:docMk/>
          <pc:sldMk cId="3176580564" sldId="425"/>
        </pc:sldMkLst>
        <pc:spChg chg="mod">
          <ac:chgData name="Jaladhi Mehta" userId="09dbf198-c652-479e-8ad2-cbca5678e10c" providerId="ADAL" clId="{CD98893D-6E01-437B-B8D6-6888F04089FD}" dt="2017-12-10T18:45:43.160" v="1981" actId="20577"/>
          <ac:spMkLst>
            <pc:docMk/>
            <pc:sldMk cId="3176580564" sldId="425"/>
            <ac:spMk id="3" creationId="{C8C8649E-9392-4108-B44D-D227662E22A6}"/>
          </ac:spMkLst>
        </pc:spChg>
      </pc:sldChg>
      <pc:sldChg chg="modSp ord modNotesTx">
        <pc:chgData name="Jaladhi Mehta" userId="09dbf198-c652-479e-8ad2-cbca5678e10c" providerId="ADAL" clId="{CD98893D-6E01-437B-B8D6-6888F04089FD}" dt="2017-12-11T22:39:57.835" v="3940" actId="20577"/>
        <pc:sldMkLst>
          <pc:docMk/>
          <pc:sldMk cId="498676597" sldId="426"/>
        </pc:sldMkLst>
        <pc:spChg chg="mod">
          <ac:chgData name="Jaladhi Mehta" userId="09dbf198-c652-479e-8ad2-cbca5678e10c" providerId="ADAL" clId="{CD98893D-6E01-437B-B8D6-6888F04089FD}" dt="2017-12-11T18:49:41.843" v="3657" actId="20577"/>
          <ac:spMkLst>
            <pc:docMk/>
            <pc:sldMk cId="498676597" sldId="426"/>
            <ac:spMk id="3" creationId="{25DB7D90-8AE3-4D94-A946-7D475C639734}"/>
          </ac:spMkLst>
        </pc:spChg>
      </pc:sldChg>
      <pc:sldChg chg="modSp modNotesTx">
        <pc:chgData name="Jaladhi Mehta" userId="09dbf198-c652-479e-8ad2-cbca5678e10c" providerId="ADAL" clId="{CD98893D-6E01-437B-B8D6-6888F04089FD}" dt="2017-12-10T22:31:28.314" v="2840" actId="20577"/>
        <pc:sldMkLst>
          <pc:docMk/>
          <pc:sldMk cId="1156927729" sldId="427"/>
        </pc:sldMkLst>
        <pc:spChg chg="mod">
          <ac:chgData name="Jaladhi Mehta" userId="09dbf198-c652-479e-8ad2-cbca5678e10c" providerId="ADAL" clId="{CD98893D-6E01-437B-B8D6-6888F04089FD}" dt="2017-12-10T22:31:28.314" v="2840" actId="20577"/>
          <ac:spMkLst>
            <pc:docMk/>
            <pc:sldMk cId="1156927729" sldId="427"/>
            <ac:spMk id="7" creationId="{5B8EFB12-1067-42D3-B35D-055CD7B5CDEE}"/>
          </ac:spMkLst>
        </pc:spChg>
      </pc:sldChg>
      <pc:sldChg chg="modSp add modNotesTx">
        <pc:chgData name="Jaladhi Mehta" userId="09dbf198-c652-479e-8ad2-cbca5678e10c" providerId="ADAL" clId="{CD98893D-6E01-437B-B8D6-6888F04089FD}" dt="2017-12-10T22:08:50.493" v="2685" actId="20577"/>
        <pc:sldMkLst>
          <pc:docMk/>
          <pc:sldMk cId="786078043" sldId="428"/>
        </pc:sldMkLst>
        <pc:spChg chg="mod">
          <ac:chgData name="Jaladhi Mehta" userId="09dbf198-c652-479e-8ad2-cbca5678e10c" providerId="ADAL" clId="{CD98893D-6E01-437B-B8D6-6888F04089FD}" dt="2017-12-09T14:10:33.900" v="48" actId="20577"/>
          <ac:spMkLst>
            <pc:docMk/>
            <pc:sldMk cId="786078043" sldId="428"/>
            <ac:spMk id="2" creationId="{97978A2D-56FC-45E6-8B21-BD9257C16920}"/>
          </ac:spMkLst>
        </pc:spChg>
        <pc:spChg chg="mod">
          <ac:chgData name="Jaladhi Mehta" userId="09dbf198-c652-479e-8ad2-cbca5678e10c" providerId="ADAL" clId="{CD98893D-6E01-437B-B8D6-6888F04089FD}" dt="2017-12-09T14:12:03.922" v="189" actId="15"/>
          <ac:spMkLst>
            <pc:docMk/>
            <pc:sldMk cId="786078043" sldId="428"/>
            <ac:spMk id="3" creationId="{F7A8EAAC-8658-423F-BAA6-5E079ADC5C94}"/>
          </ac:spMkLst>
        </pc:spChg>
      </pc:sldChg>
      <pc:sldChg chg="modSp add">
        <pc:chgData name="Jaladhi Mehta" userId="09dbf198-c652-479e-8ad2-cbca5678e10c" providerId="ADAL" clId="{CD98893D-6E01-437B-B8D6-6888F04089FD}" dt="2017-12-09T14:15:53.779" v="205" actId="14100"/>
        <pc:sldMkLst>
          <pc:docMk/>
          <pc:sldMk cId="3174308110" sldId="429"/>
        </pc:sldMkLst>
        <pc:spChg chg="mod">
          <ac:chgData name="Jaladhi Mehta" userId="09dbf198-c652-479e-8ad2-cbca5678e10c" providerId="ADAL" clId="{CD98893D-6E01-437B-B8D6-6888F04089FD}" dt="2017-12-09T14:14:37.529" v="192" actId="14100"/>
          <ac:spMkLst>
            <pc:docMk/>
            <pc:sldMk cId="3174308110" sldId="429"/>
            <ac:spMk id="2" creationId="{FB1356A4-C0A8-4DF5-BF2E-65B1E6DEBA8C}"/>
          </ac:spMkLst>
        </pc:spChg>
        <pc:spChg chg="mod">
          <ac:chgData name="Jaladhi Mehta" userId="09dbf198-c652-479e-8ad2-cbca5678e10c" providerId="ADAL" clId="{CD98893D-6E01-437B-B8D6-6888F04089FD}" dt="2017-12-09T14:15:53.779" v="205" actId="14100"/>
          <ac:spMkLst>
            <pc:docMk/>
            <pc:sldMk cId="3174308110" sldId="429"/>
            <ac:spMk id="3" creationId="{5D558EEF-62B7-450B-BCCB-7DD77654581D}"/>
          </ac:spMkLst>
        </pc:spChg>
      </pc:sldChg>
      <pc:sldChg chg="modSp add del ord modTransition">
        <pc:chgData name="Jaladhi Mehta" userId="09dbf198-c652-479e-8ad2-cbca5678e10c" providerId="ADAL" clId="{CD98893D-6E01-437B-B8D6-6888F04089FD}" dt="2017-12-10T19:48:58.422" v="2010" actId="6549"/>
        <pc:sldMkLst>
          <pc:docMk/>
          <pc:sldMk cId="1292262298" sldId="431"/>
        </pc:sldMkLst>
        <pc:spChg chg="mod">
          <ac:chgData name="Jaladhi Mehta" userId="09dbf198-c652-479e-8ad2-cbca5678e10c" providerId="ADAL" clId="{CD98893D-6E01-437B-B8D6-6888F04089FD}" dt="2017-12-09T14:19:56.700" v="214" actId="20577"/>
          <ac:spMkLst>
            <pc:docMk/>
            <pc:sldMk cId="1292262298" sldId="431"/>
            <ac:spMk id="3" creationId="{00000000-0000-0000-0000-000000000000}"/>
          </ac:spMkLst>
        </pc:spChg>
      </pc:sldChg>
      <pc:sldChg chg="addSp delSp modSp add modNotesTx">
        <pc:chgData name="Jaladhi Mehta" userId="09dbf198-c652-479e-8ad2-cbca5678e10c" providerId="ADAL" clId="{CD98893D-6E01-437B-B8D6-6888F04089FD}" dt="2017-12-10T17:49:56.736" v="1205" actId="20577"/>
        <pc:sldMkLst>
          <pc:docMk/>
          <pc:sldMk cId="4004685566" sldId="432"/>
        </pc:sldMkLst>
        <pc:spChg chg="mod">
          <ac:chgData name="Jaladhi Mehta" userId="09dbf198-c652-479e-8ad2-cbca5678e10c" providerId="ADAL" clId="{CD98893D-6E01-437B-B8D6-6888F04089FD}" dt="2017-12-09T14:21:31.203" v="234" actId="20577"/>
          <ac:spMkLst>
            <pc:docMk/>
            <pc:sldMk cId="4004685566" sldId="432"/>
            <ac:spMk id="2" creationId="{FEF8F3AE-ECC5-47B6-B84F-CB239B30DCC7}"/>
          </ac:spMkLst>
        </pc:spChg>
        <pc:spChg chg="mod">
          <ac:chgData name="Jaladhi Mehta" userId="09dbf198-c652-479e-8ad2-cbca5678e10c" providerId="ADAL" clId="{CD98893D-6E01-437B-B8D6-6888F04089FD}" dt="2017-12-09T14:21:38.443" v="235" actId="5793"/>
          <ac:spMkLst>
            <pc:docMk/>
            <pc:sldMk cId="4004685566" sldId="432"/>
            <ac:spMk id="3" creationId="{17E7D762-6F45-45A0-8658-68368077A01F}"/>
          </ac:spMkLst>
        </pc:spChg>
        <pc:grpChg chg="add del">
          <ac:chgData name="Jaladhi Mehta" userId="09dbf198-c652-479e-8ad2-cbca5678e10c" providerId="ADAL" clId="{CD98893D-6E01-437B-B8D6-6888F04089FD}" dt="2017-12-09T14:21:08.893" v="225" actId="5793"/>
          <ac:grpSpMkLst>
            <pc:docMk/>
            <pc:sldMk cId="4004685566" sldId="432"/>
            <ac:grpSpMk id="4" creationId="{F117EA9D-9250-4FB8-8737-685B0CA64348}"/>
          </ac:grpSpMkLst>
        </pc:grpChg>
        <pc:grpChg chg="add mod">
          <ac:chgData name="Jaladhi Mehta" userId="09dbf198-c652-479e-8ad2-cbca5678e10c" providerId="ADAL" clId="{CD98893D-6E01-437B-B8D6-6888F04089FD}" dt="2017-12-09T14:21:23.372" v="228" actId="1076"/>
          <ac:grpSpMkLst>
            <pc:docMk/>
            <pc:sldMk cId="4004685566" sldId="432"/>
            <ac:grpSpMk id="67" creationId="{A06E65BE-9775-4125-861E-6DB78208C01A}"/>
          </ac:grpSpMkLst>
        </pc:grpChg>
      </pc:sldChg>
      <pc:sldChg chg="add del ord">
        <pc:chgData name="Jaladhi Mehta" userId="09dbf198-c652-479e-8ad2-cbca5678e10c" providerId="ADAL" clId="{CD98893D-6E01-437B-B8D6-6888F04089FD}" dt="2017-12-09T14:25:12.366" v="240" actId="6549"/>
        <pc:sldMkLst>
          <pc:docMk/>
          <pc:sldMk cId="1299872030" sldId="433"/>
        </pc:sldMkLst>
      </pc:sldChg>
      <pc:sldChg chg="modSp add modNotesTx">
        <pc:chgData name="Jaladhi Mehta" userId="09dbf198-c652-479e-8ad2-cbca5678e10c" providerId="ADAL" clId="{CD98893D-6E01-437B-B8D6-6888F04089FD}" dt="2017-12-10T20:06:55.360" v="2146" actId="20577"/>
        <pc:sldMkLst>
          <pc:docMk/>
          <pc:sldMk cId="950712764" sldId="434"/>
        </pc:sldMkLst>
        <pc:spChg chg="mod">
          <ac:chgData name="Jaladhi Mehta" userId="09dbf198-c652-479e-8ad2-cbca5678e10c" providerId="ADAL" clId="{CD98893D-6E01-437B-B8D6-6888F04089FD}" dt="2017-12-10T20:05:34.947" v="2043" actId="20577"/>
          <ac:spMkLst>
            <pc:docMk/>
            <pc:sldMk cId="950712764" sldId="434"/>
            <ac:spMk id="2" creationId="{C580D067-3A8C-43EE-9DB4-3C748E2C0F22}"/>
          </ac:spMkLst>
        </pc:spChg>
        <pc:spChg chg="mod">
          <ac:chgData name="Jaladhi Mehta" userId="09dbf198-c652-479e-8ad2-cbca5678e10c" providerId="ADAL" clId="{CD98893D-6E01-437B-B8D6-6888F04089FD}" dt="2017-12-10T20:06:27.457" v="2047" actId="255"/>
          <ac:spMkLst>
            <pc:docMk/>
            <pc:sldMk cId="950712764" sldId="434"/>
            <ac:spMk id="3" creationId="{8F286D9E-31F3-4E74-8745-DD95E07AEB77}"/>
          </ac:spMkLst>
        </pc:spChg>
      </pc:sldChg>
      <pc:sldChg chg="add del modTransition">
        <pc:chgData name="Jaladhi Mehta" userId="09dbf198-c652-479e-8ad2-cbca5678e10c" providerId="ADAL" clId="{CD98893D-6E01-437B-B8D6-6888F04089FD}" dt="2017-12-10T20:13:23.429" v="2179" actId="6549"/>
        <pc:sldMkLst>
          <pc:docMk/>
          <pc:sldMk cId="2093396497" sldId="435"/>
        </pc:sldMkLst>
      </pc:sldChg>
      <pc:sldChg chg="modSp add">
        <pc:chgData name="Jaladhi Mehta" userId="09dbf198-c652-479e-8ad2-cbca5678e10c" providerId="ADAL" clId="{CD98893D-6E01-437B-B8D6-6888F04089FD}" dt="2017-12-11T20:11:38.085" v="3706" actId="255"/>
        <pc:sldMkLst>
          <pc:docMk/>
          <pc:sldMk cId="718688960" sldId="436"/>
        </pc:sldMkLst>
        <pc:spChg chg="mod">
          <ac:chgData name="Jaladhi Mehta" userId="09dbf198-c652-479e-8ad2-cbca5678e10c" providerId="ADAL" clId="{CD98893D-6E01-437B-B8D6-6888F04089FD}" dt="2017-12-11T20:11:18.273" v="3703" actId="255"/>
          <ac:spMkLst>
            <pc:docMk/>
            <pc:sldMk cId="718688960" sldId="436"/>
            <ac:spMk id="2" creationId="{4421B9DB-8F19-4648-8356-4F7A7E40C2E5}"/>
          </ac:spMkLst>
        </pc:spChg>
        <pc:spChg chg="mod">
          <ac:chgData name="Jaladhi Mehta" userId="09dbf198-c652-479e-8ad2-cbca5678e10c" providerId="ADAL" clId="{CD98893D-6E01-437B-B8D6-6888F04089FD}" dt="2017-12-11T20:11:38.085" v="3706" actId="255"/>
          <ac:spMkLst>
            <pc:docMk/>
            <pc:sldMk cId="718688960" sldId="436"/>
            <ac:spMk id="3" creationId="{5C335D36-0119-4D1F-A0EA-37E71910B45A}"/>
          </ac:spMkLst>
        </pc:spChg>
      </pc:sldChg>
      <pc:sldChg chg="addSp delSp add">
        <pc:chgData name="Jaladhi Mehta" userId="09dbf198-c652-479e-8ad2-cbca5678e10c" providerId="ADAL" clId="{CD98893D-6E01-437B-B8D6-6888F04089FD}" dt="2017-12-11T20:13:13.576" v="3720" actId="6549"/>
        <pc:sldMkLst>
          <pc:docMk/>
          <pc:sldMk cId="3099451878" sldId="437"/>
        </pc:sldMkLst>
        <pc:spChg chg="del">
          <ac:chgData name="Jaladhi Mehta" userId="09dbf198-c652-479e-8ad2-cbca5678e10c" providerId="ADAL" clId="{CD98893D-6E01-437B-B8D6-6888F04089FD}" dt="2017-12-11T20:13:07.301" v="3715" actId="478"/>
          <ac:spMkLst>
            <pc:docMk/>
            <pc:sldMk cId="3099451878" sldId="437"/>
            <ac:spMk id="2" creationId="{E0974EF6-BE48-4651-9C5D-A3252FE3E880}"/>
          </ac:spMkLst>
        </pc:spChg>
        <pc:spChg chg="del">
          <ac:chgData name="Jaladhi Mehta" userId="09dbf198-c652-479e-8ad2-cbca5678e10c" providerId="ADAL" clId="{CD98893D-6E01-437B-B8D6-6888F04089FD}" dt="2017-12-11T20:12:20.329" v="3708" actId="478"/>
          <ac:spMkLst>
            <pc:docMk/>
            <pc:sldMk cId="3099451878" sldId="437"/>
            <ac:spMk id="3" creationId="{7F798FEC-48C1-45F7-9B64-CE41DDF7F96A}"/>
          </ac:spMkLst>
        </pc:spChg>
        <pc:spChg chg="add del">
          <ac:chgData name="Jaladhi Mehta" userId="09dbf198-c652-479e-8ad2-cbca5678e10c" providerId="ADAL" clId="{CD98893D-6E01-437B-B8D6-6888F04089FD}" dt="2017-12-11T20:12:30.752" v="3712" actId="6549"/>
          <ac:spMkLst>
            <pc:docMk/>
            <pc:sldMk cId="3099451878" sldId="437"/>
            <ac:spMk id="4" creationId="{D02E6081-0372-428D-BD7E-818B82136772}"/>
          </ac:spMkLst>
        </pc:spChg>
        <pc:spChg chg="add del">
          <ac:chgData name="Jaladhi Mehta" userId="09dbf198-c652-479e-8ad2-cbca5678e10c" providerId="ADAL" clId="{CD98893D-6E01-437B-B8D6-6888F04089FD}" dt="2017-12-11T20:12:30.752" v="3712" actId="6549"/>
          <ac:spMkLst>
            <pc:docMk/>
            <pc:sldMk cId="3099451878" sldId="437"/>
            <ac:spMk id="5" creationId="{B8DDE6E7-AD40-484A-8F8A-D23F9600D71E}"/>
          </ac:spMkLst>
        </pc:spChg>
        <pc:spChg chg="add del">
          <ac:chgData name="Jaladhi Mehta" userId="09dbf198-c652-479e-8ad2-cbca5678e10c" providerId="ADAL" clId="{CD98893D-6E01-437B-B8D6-6888F04089FD}" dt="2017-12-11T20:12:30.752" v="3712" actId="6549"/>
          <ac:spMkLst>
            <pc:docMk/>
            <pc:sldMk cId="3099451878" sldId="437"/>
            <ac:spMk id="6" creationId="{B0111A15-720C-4C62-A2E8-F74FD992BADB}"/>
          </ac:spMkLst>
        </pc:spChg>
        <pc:spChg chg="add del">
          <ac:chgData name="Jaladhi Mehta" userId="09dbf198-c652-479e-8ad2-cbca5678e10c" providerId="ADAL" clId="{CD98893D-6E01-437B-B8D6-6888F04089FD}" dt="2017-12-11T20:12:30.752" v="3712" actId="6549"/>
          <ac:spMkLst>
            <pc:docMk/>
            <pc:sldMk cId="3099451878" sldId="437"/>
            <ac:spMk id="7" creationId="{3DD9BCFC-0D40-4DA2-997D-9CFB983E1A57}"/>
          </ac:spMkLst>
        </pc:spChg>
        <pc:spChg chg="add del">
          <ac:chgData name="Jaladhi Mehta" userId="09dbf198-c652-479e-8ad2-cbca5678e10c" providerId="ADAL" clId="{CD98893D-6E01-437B-B8D6-6888F04089FD}" dt="2017-12-11T20:12:30.752" v="3712" actId="6549"/>
          <ac:spMkLst>
            <pc:docMk/>
            <pc:sldMk cId="3099451878" sldId="437"/>
            <ac:spMk id="8" creationId="{46B970F6-1246-4068-9539-7D2D6C191D86}"/>
          </ac:spMkLst>
        </pc:spChg>
        <pc:spChg chg="add del">
          <ac:chgData name="Jaladhi Mehta" userId="09dbf198-c652-479e-8ad2-cbca5678e10c" providerId="ADAL" clId="{CD98893D-6E01-437B-B8D6-6888F04089FD}" dt="2017-12-11T20:12:30.752" v="3712" actId="6549"/>
          <ac:spMkLst>
            <pc:docMk/>
            <pc:sldMk cId="3099451878" sldId="437"/>
            <ac:spMk id="9" creationId="{345CB597-649E-47B0-9EBC-B925CBBF1703}"/>
          </ac:spMkLst>
        </pc:spChg>
        <pc:spChg chg="add del">
          <ac:chgData name="Jaladhi Mehta" userId="09dbf198-c652-479e-8ad2-cbca5678e10c" providerId="ADAL" clId="{CD98893D-6E01-437B-B8D6-6888F04089FD}" dt="2017-12-11T20:12:30.752" v="3712" actId="6549"/>
          <ac:spMkLst>
            <pc:docMk/>
            <pc:sldMk cId="3099451878" sldId="437"/>
            <ac:spMk id="10" creationId="{B3D9D0C0-FCA9-4DE4-85E4-7C7720F2D522}"/>
          </ac:spMkLst>
        </pc:spChg>
        <pc:spChg chg="add del">
          <ac:chgData name="Jaladhi Mehta" userId="09dbf198-c652-479e-8ad2-cbca5678e10c" providerId="ADAL" clId="{CD98893D-6E01-437B-B8D6-6888F04089FD}" dt="2017-12-11T20:12:30.752" v="3712" actId="6549"/>
          <ac:spMkLst>
            <pc:docMk/>
            <pc:sldMk cId="3099451878" sldId="437"/>
            <ac:spMk id="11" creationId="{AA0C46D6-7586-4CB8-AE74-2B7E24A077D7}"/>
          </ac:spMkLst>
        </pc:spChg>
        <pc:spChg chg="add del">
          <ac:chgData name="Jaladhi Mehta" userId="09dbf198-c652-479e-8ad2-cbca5678e10c" providerId="ADAL" clId="{CD98893D-6E01-437B-B8D6-6888F04089FD}" dt="2017-12-11T20:12:30.752" v="3712" actId="6549"/>
          <ac:spMkLst>
            <pc:docMk/>
            <pc:sldMk cId="3099451878" sldId="437"/>
            <ac:spMk id="12" creationId="{8C97C6FC-AF17-4CFD-B958-89A098A45C69}"/>
          </ac:spMkLst>
        </pc:spChg>
        <pc:spChg chg="add del">
          <ac:chgData name="Jaladhi Mehta" userId="09dbf198-c652-479e-8ad2-cbca5678e10c" providerId="ADAL" clId="{CD98893D-6E01-437B-B8D6-6888F04089FD}" dt="2017-12-11T20:12:30.752" v="3712" actId="6549"/>
          <ac:spMkLst>
            <pc:docMk/>
            <pc:sldMk cId="3099451878" sldId="437"/>
            <ac:spMk id="57" creationId="{7971BFE1-6322-4875-95B4-406A63E81BDD}"/>
          </ac:spMkLst>
        </pc:spChg>
        <pc:spChg chg="add del">
          <ac:chgData name="Jaladhi Mehta" userId="09dbf198-c652-479e-8ad2-cbca5678e10c" providerId="ADAL" clId="{CD98893D-6E01-437B-B8D6-6888F04089FD}" dt="2017-12-11T20:12:30.752" v="3712" actId="6549"/>
          <ac:spMkLst>
            <pc:docMk/>
            <pc:sldMk cId="3099451878" sldId="437"/>
            <ac:spMk id="58" creationId="{1289FA6D-F3C0-4B68-80F8-6D33DF56AA92}"/>
          </ac:spMkLst>
        </pc:spChg>
        <pc:spChg chg="add del">
          <ac:chgData name="Jaladhi Mehta" userId="09dbf198-c652-479e-8ad2-cbca5678e10c" providerId="ADAL" clId="{CD98893D-6E01-437B-B8D6-6888F04089FD}" dt="2017-12-11T20:12:30.752" v="3712" actId="6549"/>
          <ac:spMkLst>
            <pc:docMk/>
            <pc:sldMk cId="3099451878" sldId="437"/>
            <ac:spMk id="59" creationId="{EA6EC5C9-5BDB-4C05-8FC9-CC73A397329B}"/>
          </ac:spMkLst>
        </pc:spChg>
        <pc:spChg chg="add del">
          <ac:chgData name="Jaladhi Mehta" userId="09dbf198-c652-479e-8ad2-cbca5678e10c" providerId="ADAL" clId="{CD98893D-6E01-437B-B8D6-6888F04089FD}" dt="2017-12-11T20:12:30.752" v="3712" actId="6549"/>
          <ac:spMkLst>
            <pc:docMk/>
            <pc:sldMk cId="3099451878" sldId="437"/>
            <ac:spMk id="60" creationId="{3FD44E9C-DD0D-4674-889C-68542088CBD5}"/>
          </ac:spMkLst>
        </pc:spChg>
        <pc:spChg chg="add del">
          <ac:chgData name="Jaladhi Mehta" userId="09dbf198-c652-479e-8ad2-cbca5678e10c" providerId="ADAL" clId="{CD98893D-6E01-437B-B8D6-6888F04089FD}" dt="2017-12-11T20:12:30.752" v="3712" actId="6549"/>
          <ac:spMkLst>
            <pc:docMk/>
            <pc:sldMk cId="3099451878" sldId="437"/>
            <ac:spMk id="61" creationId="{61BC3C55-E00F-498B-9E85-21F49B5EB615}"/>
          </ac:spMkLst>
        </pc:spChg>
        <pc:spChg chg="add del">
          <ac:chgData name="Jaladhi Mehta" userId="09dbf198-c652-479e-8ad2-cbca5678e10c" providerId="ADAL" clId="{CD98893D-6E01-437B-B8D6-6888F04089FD}" dt="2017-12-11T20:12:30.752" v="3712" actId="6549"/>
          <ac:spMkLst>
            <pc:docMk/>
            <pc:sldMk cId="3099451878" sldId="437"/>
            <ac:spMk id="62" creationId="{8FE6EB0E-7133-49F3-8094-71201C8D71FC}"/>
          </ac:spMkLst>
        </pc:spChg>
        <pc:spChg chg="add del">
          <ac:chgData name="Jaladhi Mehta" userId="09dbf198-c652-479e-8ad2-cbca5678e10c" providerId="ADAL" clId="{CD98893D-6E01-437B-B8D6-6888F04089FD}" dt="2017-12-11T20:12:30.752" v="3712" actId="6549"/>
          <ac:spMkLst>
            <pc:docMk/>
            <pc:sldMk cId="3099451878" sldId="437"/>
            <ac:spMk id="63" creationId="{9CFA60AE-9454-4179-93DF-1060DDBF5C22}"/>
          </ac:spMkLst>
        </pc:spChg>
        <pc:spChg chg="add del">
          <ac:chgData name="Jaladhi Mehta" userId="09dbf198-c652-479e-8ad2-cbca5678e10c" providerId="ADAL" clId="{CD98893D-6E01-437B-B8D6-6888F04089FD}" dt="2017-12-11T20:12:30.752" v="3712" actId="6549"/>
          <ac:spMkLst>
            <pc:docMk/>
            <pc:sldMk cId="3099451878" sldId="437"/>
            <ac:spMk id="64" creationId="{B0E7CE1E-196D-4E17-9864-4593F58EA37B}"/>
          </ac:spMkLst>
        </pc:spChg>
        <pc:spChg chg="add del">
          <ac:chgData name="Jaladhi Mehta" userId="09dbf198-c652-479e-8ad2-cbca5678e10c" providerId="ADAL" clId="{CD98893D-6E01-437B-B8D6-6888F04089FD}" dt="2017-12-11T20:12:30.752" v="3712" actId="6549"/>
          <ac:spMkLst>
            <pc:docMk/>
            <pc:sldMk cId="3099451878" sldId="437"/>
            <ac:spMk id="65" creationId="{6E6C21DF-25EF-4BB8-9D66-5B6616A1AE19}"/>
          </ac:spMkLst>
        </pc:spChg>
        <pc:spChg chg="add del">
          <ac:chgData name="Jaladhi Mehta" userId="09dbf198-c652-479e-8ad2-cbca5678e10c" providerId="ADAL" clId="{CD98893D-6E01-437B-B8D6-6888F04089FD}" dt="2017-12-11T20:12:30.752" v="3712" actId="6549"/>
          <ac:spMkLst>
            <pc:docMk/>
            <pc:sldMk cId="3099451878" sldId="437"/>
            <ac:spMk id="66" creationId="{976CC209-EC74-4C31-90F8-18BCD7FEBCAB}"/>
          </ac:spMkLst>
        </pc:spChg>
        <pc:spChg chg="add del">
          <ac:chgData name="Jaladhi Mehta" userId="09dbf198-c652-479e-8ad2-cbca5678e10c" providerId="ADAL" clId="{CD98893D-6E01-437B-B8D6-6888F04089FD}" dt="2017-12-11T20:12:30.752" v="3712" actId="6549"/>
          <ac:spMkLst>
            <pc:docMk/>
            <pc:sldMk cId="3099451878" sldId="437"/>
            <ac:spMk id="71" creationId="{690B7EF2-EC3A-42C2-8871-1FD560538D2E}"/>
          </ac:spMkLst>
        </pc:spChg>
        <pc:spChg chg="add del">
          <ac:chgData name="Jaladhi Mehta" userId="09dbf198-c652-479e-8ad2-cbca5678e10c" providerId="ADAL" clId="{CD98893D-6E01-437B-B8D6-6888F04089FD}" dt="2017-12-11T20:12:30.752" v="3712" actId="6549"/>
          <ac:spMkLst>
            <pc:docMk/>
            <pc:sldMk cId="3099451878" sldId="437"/>
            <ac:spMk id="72" creationId="{E63A9F61-D6E1-4AC9-859D-FA2C3BD0CA77}"/>
          </ac:spMkLst>
        </pc:spChg>
        <pc:spChg chg="add del">
          <ac:chgData name="Jaladhi Mehta" userId="09dbf198-c652-479e-8ad2-cbca5678e10c" providerId="ADAL" clId="{CD98893D-6E01-437B-B8D6-6888F04089FD}" dt="2017-12-11T20:12:30.752" v="3712" actId="6549"/>
          <ac:spMkLst>
            <pc:docMk/>
            <pc:sldMk cId="3099451878" sldId="437"/>
            <ac:spMk id="73" creationId="{5E5A718F-E04D-4CF8-A165-6599C862AE9E}"/>
          </ac:spMkLst>
        </pc:spChg>
        <pc:spChg chg="add del">
          <ac:chgData name="Jaladhi Mehta" userId="09dbf198-c652-479e-8ad2-cbca5678e10c" providerId="ADAL" clId="{CD98893D-6E01-437B-B8D6-6888F04089FD}" dt="2017-12-11T20:12:30.752" v="3712" actId="6549"/>
          <ac:spMkLst>
            <pc:docMk/>
            <pc:sldMk cId="3099451878" sldId="437"/>
            <ac:spMk id="74" creationId="{1AF900D0-6CE9-4E05-A071-42494E3D4F9E}"/>
          </ac:spMkLst>
        </pc:spChg>
        <pc:spChg chg="add del">
          <ac:chgData name="Jaladhi Mehta" userId="09dbf198-c652-479e-8ad2-cbca5678e10c" providerId="ADAL" clId="{CD98893D-6E01-437B-B8D6-6888F04089FD}" dt="2017-12-11T20:12:30.752" v="3712" actId="6549"/>
          <ac:spMkLst>
            <pc:docMk/>
            <pc:sldMk cId="3099451878" sldId="437"/>
            <ac:spMk id="75" creationId="{BF49A35F-0EC7-49BD-A0E6-622F9351BC0B}"/>
          </ac:spMkLst>
        </pc:spChg>
        <pc:spChg chg="add del">
          <ac:chgData name="Jaladhi Mehta" userId="09dbf198-c652-479e-8ad2-cbca5678e10c" providerId="ADAL" clId="{CD98893D-6E01-437B-B8D6-6888F04089FD}" dt="2017-12-11T20:12:30.752" v="3712" actId="6549"/>
          <ac:spMkLst>
            <pc:docMk/>
            <pc:sldMk cId="3099451878" sldId="437"/>
            <ac:spMk id="76" creationId="{F5DC32D8-FC55-4417-85FA-2BAE71CD8D9E}"/>
          </ac:spMkLst>
        </pc:spChg>
        <pc:spChg chg="add del">
          <ac:chgData name="Jaladhi Mehta" userId="09dbf198-c652-479e-8ad2-cbca5678e10c" providerId="ADAL" clId="{CD98893D-6E01-437B-B8D6-6888F04089FD}" dt="2017-12-11T20:12:30.752" v="3712" actId="6549"/>
          <ac:spMkLst>
            <pc:docMk/>
            <pc:sldMk cId="3099451878" sldId="437"/>
            <ac:spMk id="77" creationId="{86600ADB-5122-43AE-BE7C-3622F620C920}"/>
          </ac:spMkLst>
        </pc:spChg>
        <pc:spChg chg="add del">
          <ac:chgData name="Jaladhi Mehta" userId="09dbf198-c652-479e-8ad2-cbca5678e10c" providerId="ADAL" clId="{CD98893D-6E01-437B-B8D6-6888F04089FD}" dt="2017-12-11T20:12:30.752" v="3712" actId="6549"/>
          <ac:spMkLst>
            <pc:docMk/>
            <pc:sldMk cId="3099451878" sldId="437"/>
            <ac:spMk id="78" creationId="{DCB2E9A3-570B-4D4D-8471-08127B2BDEC2}"/>
          </ac:spMkLst>
        </pc:spChg>
        <pc:spChg chg="add del">
          <ac:chgData name="Jaladhi Mehta" userId="09dbf198-c652-479e-8ad2-cbca5678e10c" providerId="ADAL" clId="{CD98893D-6E01-437B-B8D6-6888F04089FD}" dt="2017-12-11T20:12:30.752" v="3712" actId="6549"/>
          <ac:spMkLst>
            <pc:docMk/>
            <pc:sldMk cId="3099451878" sldId="437"/>
            <ac:spMk id="79" creationId="{EF83213D-E5A4-4619-A0EB-6BFEE52EFD19}"/>
          </ac:spMkLst>
        </pc:spChg>
        <pc:spChg chg="add del">
          <ac:chgData name="Jaladhi Mehta" userId="09dbf198-c652-479e-8ad2-cbca5678e10c" providerId="ADAL" clId="{CD98893D-6E01-437B-B8D6-6888F04089FD}" dt="2017-12-11T20:12:30.752" v="3712" actId="6549"/>
          <ac:spMkLst>
            <pc:docMk/>
            <pc:sldMk cId="3099451878" sldId="437"/>
            <ac:spMk id="80" creationId="{F5770823-CE68-480F-91CC-B35327C56563}"/>
          </ac:spMkLst>
        </pc:spChg>
        <pc:spChg chg="add del">
          <ac:chgData name="Jaladhi Mehta" userId="09dbf198-c652-479e-8ad2-cbca5678e10c" providerId="ADAL" clId="{CD98893D-6E01-437B-B8D6-6888F04089FD}" dt="2017-12-11T20:12:30.752" v="3712" actId="6549"/>
          <ac:spMkLst>
            <pc:docMk/>
            <pc:sldMk cId="3099451878" sldId="437"/>
            <ac:spMk id="81" creationId="{3456EF86-E9D6-4BF0-8297-0A44B6C8EB7C}"/>
          </ac:spMkLst>
        </pc:spChg>
        <pc:spChg chg="add del">
          <ac:chgData name="Jaladhi Mehta" userId="09dbf198-c652-479e-8ad2-cbca5678e10c" providerId="ADAL" clId="{CD98893D-6E01-437B-B8D6-6888F04089FD}" dt="2017-12-11T20:12:30.752" v="3712" actId="6549"/>
          <ac:spMkLst>
            <pc:docMk/>
            <pc:sldMk cId="3099451878" sldId="437"/>
            <ac:spMk id="82" creationId="{98743929-9A18-44B5-87BE-C086B1BEF797}"/>
          </ac:spMkLst>
        </pc:spChg>
        <pc:spChg chg="add del">
          <ac:chgData name="Jaladhi Mehta" userId="09dbf198-c652-479e-8ad2-cbca5678e10c" providerId="ADAL" clId="{CD98893D-6E01-437B-B8D6-6888F04089FD}" dt="2017-12-11T20:12:38.502" v="3714" actId="6549"/>
          <ac:spMkLst>
            <pc:docMk/>
            <pc:sldMk cId="3099451878" sldId="437"/>
            <ac:spMk id="83" creationId="{1563D38A-EE79-4E16-A4C5-08A59D561C8F}"/>
          </ac:spMkLst>
        </pc:spChg>
        <pc:spChg chg="add del">
          <ac:chgData name="Jaladhi Mehta" userId="09dbf198-c652-479e-8ad2-cbca5678e10c" providerId="ADAL" clId="{CD98893D-6E01-437B-B8D6-6888F04089FD}" dt="2017-12-11T20:12:38.502" v="3714" actId="6549"/>
          <ac:spMkLst>
            <pc:docMk/>
            <pc:sldMk cId="3099451878" sldId="437"/>
            <ac:spMk id="84" creationId="{112AEFF5-1B44-47B6-9165-D4FD17C9C0FA}"/>
          </ac:spMkLst>
        </pc:spChg>
        <pc:spChg chg="add del">
          <ac:chgData name="Jaladhi Mehta" userId="09dbf198-c652-479e-8ad2-cbca5678e10c" providerId="ADAL" clId="{CD98893D-6E01-437B-B8D6-6888F04089FD}" dt="2017-12-11T20:12:38.502" v="3714" actId="6549"/>
          <ac:spMkLst>
            <pc:docMk/>
            <pc:sldMk cId="3099451878" sldId="437"/>
            <ac:spMk id="85" creationId="{E85172D4-E5C5-46E2-82F9-6DC0C87D8338}"/>
          </ac:spMkLst>
        </pc:spChg>
        <pc:spChg chg="add del">
          <ac:chgData name="Jaladhi Mehta" userId="09dbf198-c652-479e-8ad2-cbca5678e10c" providerId="ADAL" clId="{CD98893D-6E01-437B-B8D6-6888F04089FD}" dt="2017-12-11T20:12:38.502" v="3714" actId="6549"/>
          <ac:spMkLst>
            <pc:docMk/>
            <pc:sldMk cId="3099451878" sldId="437"/>
            <ac:spMk id="86" creationId="{B2496AA3-D4D3-4C39-8FF0-F97BB86FD104}"/>
          </ac:spMkLst>
        </pc:spChg>
        <pc:spChg chg="add del">
          <ac:chgData name="Jaladhi Mehta" userId="09dbf198-c652-479e-8ad2-cbca5678e10c" providerId="ADAL" clId="{CD98893D-6E01-437B-B8D6-6888F04089FD}" dt="2017-12-11T20:12:38.502" v="3714" actId="6549"/>
          <ac:spMkLst>
            <pc:docMk/>
            <pc:sldMk cId="3099451878" sldId="437"/>
            <ac:spMk id="87" creationId="{35A8F70D-5041-4C42-95D9-4D93358EBF40}"/>
          </ac:spMkLst>
        </pc:spChg>
        <pc:spChg chg="add del">
          <ac:chgData name="Jaladhi Mehta" userId="09dbf198-c652-479e-8ad2-cbca5678e10c" providerId="ADAL" clId="{CD98893D-6E01-437B-B8D6-6888F04089FD}" dt="2017-12-11T20:12:38.502" v="3714" actId="6549"/>
          <ac:spMkLst>
            <pc:docMk/>
            <pc:sldMk cId="3099451878" sldId="437"/>
            <ac:spMk id="88" creationId="{34453DD0-B2AD-41FE-A56E-FFC8CAC2D6E0}"/>
          </ac:spMkLst>
        </pc:spChg>
        <pc:spChg chg="add del">
          <ac:chgData name="Jaladhi Mehta" userId="09dbf198-c652-479e-8ad2-cbca5678e10c" providerId="ADAL" clId="{CD98893D-6E01-437B-B8D6-6888F04089FD}" dt="2017-12-11T20:12:38.502" v="3714" actId="6549"/>
          <ac:spMkLst>
            <pc:docMk/>
            <pc:sldMk cId="3099451878" sldId="437"/>
            <ac:spMk id="89" creationId="{21BAC970-9920-4FF2-B18F-4B6BF0F91E41}"/>
          </ac:spMkLst>
        </pc:spChg>
        <pc:spChg chg="add del">
          <ac:chgData name="Jaladhi Mehta" userId="09dbf198-c652-479e-8ad2-cbca5678e10c" providerId="ADAL" clId="{CD98893D-6E01-437B-B8D6-6888F04089FD}" dt="2017-12-11T20:12:38.502" v="3714" actId="6549"/>
          <ac:spMkLst>
            <pc:docMk/>
            <pc:sldMk cId="3099451878" sldId="437"/>
            <ac:spMk id="90" creationId="{931CA251-488A-472A-8DB6-367B0D94387C}"/>
          </ac:spMkLst>
        </pc:spChg>
        <pc:spChg chg="add del">
          <ac:chgData name="Jaladhi Mehta" userId="09dbf198-c652-479e-8ad2-cbca5678e10c" providerId="ADAL" clId="{CD98893D-6E01-437B-B8D6-6888F04089FD}" dt="2017-12-11T20:12:38.502" v="3714" actId="6549"/>
          <ac:spMkLst>
            <pc:docMk/>
            <pc:sldMk cId="3099451878" sldId="437"/>
            <ac:spMk id="91" creationId="{50605EF4-05F8-44E0-9BBC-52F897F1AB87}"/>
          </ac:spMkLst>
        </pc:spChg>
        <pc:spChg chg="add del">
          <ac:chgData name="Jaladhi Mehta" userId="09dbf198-c652-479e-8ad2-cbca5678e10c" providerId="ADAL" clId="{CD98893D-6E01-437B-B8D6-6888F04089FD}" dt="2017-12-11T20:12:38.502" v="3714" actId="6549"/>
          <ac:spMkLst>
            <pc:docMk/>
            <pc:sldMk cId="3099451878" sldId="437"/>
            <ac:spMk id="136" creationId="{227E1E1A-E592-41BB-ABA5-D7043A8D2CBD}"/>
          </ac:spMkLst>
        </pc:spChg>
        <pc:spChg chg="add del">
          <ac:chgData name="Jaladhi Mehta" userId="09dbf198-c652-479e-8ad2-cbca5678e10c" providerId="ADAL" clId="{CD98893D-6E01-437B-B8D6-6888F04089FD}" dt="2017-12-11T20:12:38.502" v="3714" actId="6549"/>
          <ac:spMkLst>
            <pc:docMk/>
            <pc:sldMk cId="3099451878" sldId="437"/>
            <ac:spMk id="137" creationId="{1EAD9BEE-0D90-4247-A957-CF886E7DAF90}"/>
          </ac:spMkLst>
        </pc:spChg>
        <pc:spChg chg="add del">
          <ac:chgData name="Jaladhi Mehta" userId="09dbf198-c652-479e-8ad2-cbca5678e10c" providerId="ADAL" clId="{CD98893D-6E01-437B-B8D6-6888F04089FD}" dt="2017-12-11T20:12:38.502" v="3714" actId="6549"/>
          <ac:spMkLst>
            <pc:docMk/>
            <pc:sldMk cId="3099451878" sldId="437"/>
            <ac:spMk id="138" creationId="{256C4285-F7B7-4839-B217-4DD83DABE954}"/>
          </ac:spMkLst>
        </pc:spChg>
        <pc:spChg chg="add del">
          <ac:chgData name="Jaladhi Mehta" userId="09dbf198-c652-479e-8ad2-cbca5678e10c" providerId="ADAL" clId="{CD98893D-6E01-437B-B8D6-6888F04089FD}" dt="2017-12-11T20:12:38.502" v="3714" actId="6549"/>
          <ac:spMkLst>
            <pc:docMk/>
            <pc:sldMk cId="3099451878" sldId="437"/>
            <ac:spMk id="139" creationId="{AD98374F-1DC1-4345-BC7E-1C052309E608}"/>
          </ac:spMkLst>
        </pc:spChg>
        <pc:spChg chg="add del">
          <ac:chgData name="Jaladhi Mehta" userId="09dbf198-c652-479e-8ad2-cbca5678e10c" providerId="ADAL" clId="{CD98893D-6E01-437B-B8D6-6888F04089FD}" dt="2017-12-11T20:12:38.502" v="3714" actId="6549"/>
          <ac:spMkLst>
            <pc:docMk/>
            <pc:sldMk cId="3099451878" sldId="437"/>
            <ac:spMk id="140" creationId="{4EC24F49-7634-4C23-9BE9-B7722E86A70F}"/>
          </ac:spMkLst>
        </pc:spChg>
        <pc:spChg chg="add del">
          <ac:chgData name="Jaladhi Mehta" userId="09dbf198-c652-479e-8ad2-cbca5678e10c" providerId="ADAL" clId="{CD98893D-6E01-437B-B8D6-6888F04089FD}" dt="2017-12-11T20:12:38.502" v="3714" actId="6549"/>
          <ac:spMkLst>
            <pc:docMk/>
            <pc:sldMk cId="3099451878" sldId="437"/>
            <ac:spMk id="141" creationId="{8D7FEC7A-9DBC-4A76-A582-BB132EE10244}"/>
          </ac:spMkLst>
        </pc:spChg>
        <pc:spChg chg="add del">
          <ac:chgData name="Jaladhi Mehta" userId="09dbf198-c652-479e-8ad2-cbca5678e10c" providerId="ADAL" clId="{CD98893D-6E01-437B-B8D6-6888F04089FD}" dt="2017-12-11T20:12:38.502" v="3714" actId="6549"/>
          <ac:spMkLst>
            <pc:docMk/>
            <pc:sldMk cId="3099451878" sldId="437"/>
            <ac:spMk id="142" creationId="{D5458007-EABA-481F-A62B-00728A9C14E2}"/>
          </ac:spMkLst>
        </pc:spChg>
        <pc:spChg chg="add del">
          <ac:chgData name="Jaladhi Mehta" userId="09dbf198-c652-479e-8ad2-cbca5678e10c" providerId="ADAL" clId="{CD98893D-6E01-437B-B8D6-6888F04089FD}" dt="2017-12-11T20:12:38.502" v="3714" actId="6549"/>
          <ac:spMkLst>
            <pc:docMk/>
            <pc:sldMk cId="3099451878" sldId="437"/>
            <ac:spMk id="143" creationId="{49F0FA99-2920-43C7-99B7-5FDDD6ACD180}"/>
          </ac:spMkLst>
        </pc:spChg>
        <pc:spChg chg="add del">
          <ac:chgData name="Jaladhi Mehta" userId="09dbf198-c652-479e-8ad2-cbca5678e10c" providerId="ADAL" clId="{CD98893D-6E01-437B-B8D6-6888F04089FD}" dt="2017-12-11T20:12:38.502" v="3714" actId="6549"/>
          <ac:spMkLst>
            <pc:docMk/>
            <pc:sldMk cId="3099451878" sldId="437"/>
            <ac:spMk id="144" creationId="{888BB7BB-1C0C-4AF8-93A5-66669FC9712B}"/>
          </ac:spMkLst>
        </pc:spChg>
        <pc:spChg chg="add del">
          <ac:chgData name="Jaladhi Mehta" userId="09dbf198-c652-479e-8ad2-cbca5678e10c" providerId="ADAL" clId="{CD98893D-6E01-437B-B8D6-6888F04089FD}" dt="2017-12-11T20:12:38.502" v="3714" actId="6549"/>
          <ac:spMkLst>
            <pc:docMk/>
            <pc:sldMk cId="3099451878" sldId="437"/>
            <ac:spMk id="145" creationId="{E1FA0908-9629-4AC7-AB44-9C4FB1BA9CB8}"/>
          </ac:spMkLst>
        </pc:spChg>
        <pc:spChg chg="add del">
          <ac:chgData name="Jaladhi Mehta" userId="09dbf198-c652-479e-8ad2-cbca5678e10c" providerId="ADAL" clId="{CD98893D-6E01-437B-B8D6-6888F04089FD}" dt="2017-12-11T20:12:38.502" v="3714" actId="6549"/>
          <ac:spMkLst>
            <pc:docMk/>
            <pc:sldMk cId="3099451878" sldId="437"/>
            <ac:spMk id="150" creationId="{91A73C6B-4E5E-4884-ACDA-7B5363210022}"/>
          </ac:spMkLst>
        </pc:spChg>
        <pc:spChg chg="add del">
          <ac:chgData name="Jaladhi Mehta" userId="09dbf198-c652-479e-8ad2-cbca5678e10c" providerId="ADAL" clId="{CD98893D-6E01-437B-B8D6-6888F04089FD}" dt="2017-12-11T20:12:38.502" v="3714" actId="6549"/>
          <ac:spMkLst>
            <pc:docMk/>
            <pc:sldMk cId="3099451878" sldId="437"/>
            <ac:spMk id="151" creationId="{D4D80490-03F5-4503-9307-27F943154E15}"/>
          </ac:spMkLst>
        </pc:spChg>
        <pc:spChg chg="add del">
          <ac:chgData name="Jaladhi Mehta" userId="09dbf198-c652-479e-8ad2-cbca5678e10c" providerId="ADAL" clId="{CD98893D-6E01-437B-B8D6-6888F04089FD}" dt="2017-12-11T20:12:38.502" v="3714" actId="6549"/>
          <ac:spMkLst>
            <pc:docMk/>
            <pc:sldMk cId="3099451878" sldId="437"/>
            <ac:spMk id="152" creationId="{5E6E2387-53CD-4B8C-894D-1F80A383E8FE}"/>
          </ac:spMkLst>
        </pc:spChg>
        <pc:spChg chg="add del">
          <ac:chgData name="Jaladhi Mehta" userId="09dbf198-c652-479e-8ad2-cbca5678e10c" providerId="ADAL" clId="{CD98893D-6E01-437B-B8D6-6888F04089FD}" dt="2017-12-11T20:12:38.502" v="3714" actId="6549"/>
          <ac:spMkLst>
            <pc:docMk/>
            <pc:sldMk cId="3099451878" sldId="437"/>
            <ac:spMk id="153" creationId="{9C25A1B9-B4DC-4BFE-8FA0-ACD7217AD76A}"/>
          </ac:spMkLst>
        </pc:spChg>
        <pc:spChg chg="add del">
          <ac:chgData name="Jaladhi Mehta" userId="09dbf198-c652-479e-8ad2-cbca5678e10c" providerId="ADAL" clId="{CD98893D-6E01-437B-B8D6-6888F04089FD}" dt="2017-12-11T20:12:38.502" v="3714" actId="6549"/>
          <ac:spMkLst>
            <pc:docMk/>
            <pc:sldMk cId="3099451878" sldId="437"/>
            <ac:spMk id="154" creationId="{B47DE628-DC0D-4F97-8888-BA58D5F2C41E}"/>
          </ac:spMkLst>
        </pc:spChg>
        <pc:spChg chg="add del">
          <ac:chgData name="Jaladhi Mehta" userId="09dbf198-c652-479e-8ad2-cbca5678e10c" providerId="ADAL" clId="{CD98893D-6E01-437B-B8D6-6888F04089FD}" dt="2017-12-11T20:12:38.502" v="3714" actId="6549"/>
          <ac:spMkLst>
            <pc:docMk/>
            <pc:sldMk cId="3099451878" sldId="437"/>
            <ac:spMk id="155" creationId="{65AC4581-B7F8-4ED1-A0AF-CB33280436A1}"/>
          </ac:spMkLst>
        </pc:spChg>
        <pc:spChg chg="add del">
          <ac:chgData name="Jaladhi Mehta" userId="09dbf198-c652-479e-8ad2-cbca5678e10c" providerId="ADAL" clId="{CD98893D-6E01-437B-B8D6-6888F04089FD}" dt="2017-12-11T20:12:38.502" v="3714" actId="6549"/>
          <ac:spMkLst>
            <pc:docMk/>
            <pc:sldMk cId="3099451878" sldId="437"/>
            <ac:spMk id="156" creationId="{D6CEC140-162F-42F0-A136-5ED441082AFA}"/>
          </ac:spMkLst>
        </pc:spChg>
        <pc:spChg chg="add del">
          <ac:chgData name="Jaladhi Mehta" userId="09dbf198-c652-479e-8ad2-cbca5678e10c" providerId="ADAL" clId="{CD98893D-6E01-437B-B8D6-6888F04089FD}" dt="2017-12-11T20:12:38.502" v="3714" actId="6549"/>
          <ac:spMkLst>
            <pc:docMk/>
            <pc:sldMk cId="3099451878" sldId="437"/>
            <ac:spMk id="157" creationId="{F901C17F-1ACC-4683-8E99-0A60F0D56E15}"/>
          </ac:spMkLst>
        </pc:spChg>
        <pc:spChg chg="add del">
          <ac:chgData name="Jaladhi Mehta" userId="09dbf198-c652-479e-8ad2-cbca5678e10c" providerId="ADAL" clId="{CD98893D-6E01-437B-B8D6-6888F04089FD}" dt="2017-12-11T20:12:38.502" v="3714" actId="6549"/>
          <ac:spMkLst>
            <pc:docMk/>
            <pc:sldMk cId="3099451878" sldId="437"/>
            <ac:spMk id="158" creationId="{B45146E8-EA7C-499B-8958-516818D30EA0}"/>
          </ac:spMkLst>
        </pc:spChg>
        <pc:spChg chg="add del">
          <ac:chgData name="Jaladhi Mehta" userId="09dbf198-c652-479e-8ad2-cbca5678e10c" providerId="ADAL" clId="{CD98893D-6E01-437B-B8D6-6888F04089FD}" dt="2017-12-11T20:12:38.502" v="3714" actId="6549"/>
          <ac:spMkLst>
            <pc:docMk/>
            <pc:sldMk cId="3099451878" sldId="437"/>
            <ac:spMk id="159" creationId="{494EDAB6-23B0-43F9-8000-8B100A5D0063}"/>
          </ac:spMkLst>
        </pc:spChg>
        <pc:spChg chg="add del">
          <ac:chgData name="Jaladhi Mehta" userId="09dbf198-c652-479e-8ad2-cbca5678e10c" providerId="ADAL" clId="{CD98893D-6E01-437B-B8D6-6888F04089FD}" dt="2017-12-11T20:12:38.502" v="3714" actId="6549"/>
          <ac:spMkLst>
            <pc:docMk/>
            <pc:sldMk cId="3099451878" sldId="437"/>
            <ac:spMk id="160" creationId="{1B525F37-A275-42B5-A06E-3525094EABE6}"/>
          </ac:spMkLst>
        </pc:spChg>
        <pc:spChg chg="add del">
          <ac:chgData name="Jaladhi Mehta" userId="09dbf198-c652-479e-8ad2-cbca5678e10c" providerId="ADAL" clId="{CD98893D-6E01-437B-B8D6-6888F04089FD}" dt="2017-12-11T20:12:38.502" v="3714" actId="6549"/>
          <ac:spMkLst>
            <pc:docMk/>
            <pc:sldMk cId="3099451878" sldId="437"/>
            <ac:spMk id="161" creationId="{AD0272C8-7631-40D9-B204-7A6C7EDE59D5}"/>
          </ac:spMkLst>
        </pc:spChg>
        <pc:spChg chg="add del">
          <ac:chgData name="Jaladhi Mehta" userId="09dbf198-c652-479e-8ad2-cbca5678e10c" providerId="ADAL" clId="{CD98893D-6E01-437B-B8D6-6888F04089FD}" dt="2017-12-11T20:13:13.306" v="3719" actId="6549"/>
          <ac:spMkLst>
            <pc:docMk/>
            <pc:sldMk cId="3099451878" sldId="437"/>
            <ac:spMk id="162" creationId="{488C8DD0-F159-42E3-ABE8-EE8E836679A6}"/>
          </ac:spMkLst>
        </pc:spChg>
        <pc:spChg chg="add del">
          <ac:chgData name="Jaladhi Mehta" userId="09dbf198-c652-479e-8ad2-cbca5678e10c" providerId="ADAL" clId="{CD98893D-6E01-437B-B8D6-6888F04089FD}" dt="2017-12-11T20:13:13.306" v="3719" actId="6549"/>
          <ac:spMkLst>
            <pc:docMk/>
            <pc:sldMk cId="3099451878" sldId="437"/>
            <ac:spMk id="163" creationId="{BA59AD80-42A7-481C-957A-128D727CC409}"/>
          </ac:spMkLst>
        </pc:spChg>
        <pc:spChg chg="add del">
          <ac:chgData name="Jaladhi Mehta" userId="09dbf198-c652-479e-8ad2-cbca5678e10c" providerId="ADAL" clId="{CD98893D-6E01-437B-B8D6-6888F04089FD}" dt="2017-12-11T20:13:13.306" v="3719" actId="6549"/>
          <ac:spMkLst>
            <pc:docMk/>
            <pc:sldMk cId="3099451878" sldId="437"/>
            <ac:spMk id="164" creationId="{04C7D51D-8DAA-40F7-A89D-E8C689A8FA11}"/>
          </ac:spMkLst>
        </pc:spChg>
        <pc:spChg chg="add del">
          <ac:chgData name="Jaladhi Mehta" userId="09dbf198-c652-479e-8ad2-cbca5678e10c" providerId="ADAL" clId="{CD98893D-6E01-437B-B8D6-6888F04089FD}" dt="2017-12-11T20:13:13.306" v="3719" actId="6549"/>
          <ac:spMkLst>
            <pc:docMk/>
            <pc:sldMk cId="3099451878" sldId="437"/>
            <ac:spMk id="165" creationId="{6DE56F62-716E-4F0E-9A10-9D31355EFB01}"/>
          </ac:spMkLst>
        </pc:spChg>
        <pc:spChg chg="add del">
          <ac:chgData name="Jaladhi Mehta" userId="09dbf198-c652-479e-8ad2-cbca5678e10c" providerId="ADAL" clId="{CD98893D-6E01-437B-B8D6-6888F04089FD}" dt="2017-12-11T20:13:13.306" v="3719" actId="6549"/>
          <ac:spMkLst>
            <pc:docMk/>
            <pc:sldMk cId="3099451878" sldId="437"/>
            <ac:spMk id="166" creationId="{4A904245-FDE0-4453-A623-2A9C0C47421A}"/>
          </ac:spMkLst>
        </pc:spChg>
        <pc:spChg chg="add del">
          <ac:chgData name="Jaladhi Mehta" userId="09dbf198-c652-479e-8ad2-cbca5678e10c" providerId="ADAL" clId="{CD98893D-6E01-437B-B8D6-6888F04089FD}" dt="2017-12-11T20:13:13.306" v="3719" actId="6549"/>
          <ac:spMkLst>
            <pc:docMk/>
            <pc:sldMk cId="3099451878" sldId="437"/>
            <ac:spMk id="167" creationId="{62B345DD-F2D4-4844-94AA-CA093E4DC5AC}"/>
          </ac:spMkLst>
        </pc:spChg>
        <pc:spChg chg="add del">
          <ac:chgData name="Jaladhi Mehta" userId="09dbf198-c652-479e-8ad2-cbca5678e10c" providerId="ADAL" clId="{CD98893D-6E01-437B-B8D6-6888F04089FD}" dt="2017-12-11T20:13:13.306" v="3719" actId="6549"/>
          <ac:spMkLst>
            <pc:docMk/>
            <pc:sldMk cId="3099451878" sldId="437"/>
            <ac:spMk id="168" creationId="{F58DCD35-0EC1-48E8-9881-E903E39A1223}"/>
          </ac:spMkLst>
        </pc:spChg>
        <pc:spChg chg="add del">
          <ac:chgData name="Jaladhi Mehta" userId="09dbf198-c652-479e-8ad2-cbca5678e10c" providerId="ADAL" clId="{CD98893D-6E01-437B-B8D6-6888F04089FD}" dt="2017-12-11T20:13:13.306" v="3719" actId="6549"/>
          <ac:spMkLst>
            <pc:docMk/>
            <pc:sldMk cId="3099451878" sldId="437"/>
            <ac:spMk id="169" creationId="{3E0F62A1-CD84-4A20-942C-565AFADD7C55}"/>
          </ac:spMkLst>
        </pc:spChg>
        <pc:spChg chg="add del">
          <ac:chgData name="Jaladhi Mehta" userId="09dbf198-c652-479e-8ad2-cbca5678e10c" providerId="ADAL" clId="{CD98893D-6E01-437B-B8D6-6888F04089FD}" dt="2017-12-11T20:13:13.306" v="3719" actId="6549"/>
          <ac:spMkLst>
            <pc:docMk/>
            <pc:sldMk cId="3099451878" sldId="437"/>
            <ac:spMk id="170" creationId="{F0C83B4F-4A55-4DE1-890D-E63D1A10FF02}"/>
          </ac:spMkLst>
        </pc:spChg>
        <pc:spChg chg="add del">
          <ac:chgData name="Jaladhi Mehta" userId="09dbf198-c652-479e-8ad2-cbca5678e10c" providerId="ADAL" clId="{CD98893D-6E01-437B-B8D6-6888F04089FD}" dt="2017-12-11T20:13:13.306" v="3719" actId="6549"/>
          <ac:spMkLst>
            <pc:docMk/>
            <pc:sldMk cId="3099451878" sldId="437"/>
            <ac:spMk id="215" creationId="{E75F19B0-1F2F-4950-B2D5-3792686602E5}"/>
          </ac:spMkLst>
        </pc:spChg>
        <pc:spChg chg="add del">
          <ac:chgData name="Jaladhi Mehta" userId="09dbf198-c652-479e-8ad2-cbca5678e10c" providerId="ADAL" clId="{CD98893D-6E01-437B-B8D6-6888F04089FD}" dt="2017-12-11T20:13:13.306" v="3719" actId="6549"/>
          <ac:spMkLst>
            <pc:docMk/>
            <pc:sldMk cId="3099451878" sldId="437"/>
            <ac:spMk id="216" creationId="{13EBA46D-E0C8-4F4D-8CEC-9E39AB13C7D2}"/>
          </ac:spMkLst>
        </pc:spChg>
        <pc:spChg chg="add del">
          <ac:chgData name="Jaladhi Mehta" userId="09dbf198-c652-479e-8ad2-cbca5678e10c" providerId="ADAL" clId="{CD98893D-6E01-437B-B8D6-6888F04089FD}" dt="2017-12-11T20:13:13.306" v="3719" actId="6549"/>
          <ac:spMkLst>
            <pc:docMk/>
            <pc:sldMk cId="3099451878" sldId="437"/>
            <ac:spMk id="217" creationId="{3065FA34-1A5C-4C11-AF0A-BD8A64F9DB58}"/>
          </ac:spMkLst>
        </pc:spChg>
        <pc:spChg chg="add del">
          <ac:chgData name="Jaladhi Mehta" userId="09dbf198-c652-479e-8ad2-cbca5678e10c" providerId="ADAL" clId="{CD98893D-6E01-437B-B8D6-6888F04089FD}" dt="2017-12-11T20:13:13.306" v="3719" actId="6549"/>
          <ac:spMkLst>
            <pc:docMk/>
            <pc:sldMk cId="3099451878" sldId="437"/>
            <ac:spMk id="218" creationId="{E593DC48-79C5-453B-9576-A681066EB887}"/>
          </ac:spMkLst>
        </pc:spChg>
        <pc:spChg chg="add del">
          <ac:chgData name="Jaladhi Mehta" userId="09dbf198-c652-479e-8ad2-cbca5678e10c" providerId="ADAL" clId="{CD98893D-6E01-437B-B8D6-6888F04089FD}" dt="2017-12-11T20:13:13.306" v="3719" actId="6549"/>
          <ac:spMkLst>
            <pc:docMk/>
            <pc:sldMk cId="3099451878" sldId="437"/>
            <ac:spMk id="219" creationId="{17C2F64C-FAC9-4DB5-BCCB-D11B642BAEC2}"/>
          </ac:spMkLst>
        </pc:spChg>
        <pc:spChg chg="add del">
          <ac:chgData name="Jaladhi Mehta" userId="09dbf198-c652-479e-8ad2-cbca5678e10c" providerId="ADAL" clId="{CD98893D-6E01-437B-B8D6-6888F04089FD}" dt="2017-12-11T20:13:13.306" v="3719" actId="6549"/>
          <ac:spMkLst>
            <pc:docMk/>
            <pc:sldMk cId="3099451878" sldId="437"/>
            <ac:spMk id="220" creationId="{13F04D72-C130-4BF2-899A-C7B2B5729836}"/>
          </ac:spMkLst>
        </pc:spChg>
        <pc:spChg chg="add del">
          <ac:chgData name="Jaladhi Mehta" userId="09dbf198-c652-479e-8ad2-cbca5678e10c" providerId="ADAL" clId="{CD98893D-6E01-437B-B8D6-6888F04089FD}" dt="2017-12-11T20:13:13.306" v="3719" actId="6549"/>
          <ac:spMkLst>
            <pc:docMk/>
            <pc:sldMk cId="3099451878" sldId="437"/>
            <ac:spMk id="221" creationId="{4C430DEE-D35C-43DE-A798-D73BEAF2C57C}"/>
          </ac:spMkLst>
        </pc:spChg>
        <pc:spChg chg="add del">
          <ac:chgData name="Jaladhi Mehta" userId="09dbf198-c652-479e-8ad2-cbca5678e10c" providerId="ADAL" clId="{CD98893D-6E01-437B-B8D6-6888F04089FD}" dt="2017-12-11T20:13:13.306" v="3719" actId="6549"/>
          <ac:spMkLst>
            <pc:docMk/>
            <pc:sldMk cId="3099451878" sldId="437"/>
            <ac:spMk id="222" creationId="{B04D7C22-7FBD-4D57-B30C-C2B83CF7F436}"/>
          </ac:spMkLst>
        </pc:spChg>
        <pc:spChg chg="add del">
          <ac:chgData name="Jaladhi Mehta" userId="09dbf198-c652-479e-8ad2-cbca5678e10c" providerId="ADAL" clId="{CD98893D-6E01-437B-B8D6-6888F04089FD}" dt="2017-12-11T20:13:13.306" v="3719" actId="6549"/>
          <ac:spMkLst>
            <pc:docMk/>
            <pc:sldMk cId="3099451878" sldId="437"/>
            <ac:spMk id="223" creationId="{11154F4D-D067-4EF1-8645-E90E1D0C89CD}"/>
          </ac:spMkLst>
        </pc:spChg>
        <pc:spChg chg="add del">
          <ac:chgData name="Jaladhi Mehta" userId="09dbf198-c652-479e-8ad2-cbca5678e10c" providerId="ADAL" clId="{CD98893D-6E01-437B-B8D6-6888F04089FD}" dt="2017-12-11T20:13:13.306" v="3719" actId="6549"/>
          <ac:spMkLst>
            <pc:docMk/>
            <pc:sldMk cId="3099451878" sldId="437"/>
            <ac:spMk id="224" creationId="{22B26BC9-2CE8-4332-AEEE-7A06A74CA50F}"/>
          </ac:spMkLst>
        </pc:spChg>
        <pc:spChg chg="add del">
          <ac:chgData name="Jaladhi Mehta" userId="09dbf198-c652-479e-8ad2-cbca5678e10c" providerId="ADAL" clId="{CD98893D-6E01-437B-B8D6-6888F04089FD}" dt="2017-12-11T20:13:13.306" v="3719" actId="6549"/>
          <ac:spMkLst>
            <pc:docMk/>
            <pc:sldMk cId="3099451878" sldId="437"/>
            <ac:spMk id="229" creationId="{DD435805-1DD6-4EE1-94EA-6B33CEBF351D}"/>
          </ac:spMkLst>
        </pc:spChg>
        <pc:spChg chg="add del">
          <ac:chgData name="Jaladhi Mehta" userId="09dbf198-c652-479e-8ad2-cbca5678e10c" providerId="ADAL" clId="{CD98893D-6E01-437B-B8D6-6888F04089FD}" dt="2017-12-11T20:13:13.306" v="3719" actId="6549"/>
          <ac:spMkLst>
            <pc:docMk/>
            <pc:sldMk cId="3099451878" sldId="437"/>
            <ac:spMk id="230" creationId="{8536024E-FA40-4FE0-8AFB-A13995692C47}"/>
          </ac:spMkLst>
        </pc:spChg>
        <pc:spChg chg="add del">
          <ac:chgData name="Jaladhi Mehta" userId="09dbf198-c652-479e-8ad2-cbca5678e10c" providerId="ADAL" clId="{CD98893D-6E01-437B-B8D6-6888F04089FD}" dt="2017-12-11T20:13:13.306" v="3719" actId="6549"/>
          <ac:spMkLst>
            <pc:docMk/>
            <pc:sldMk cId="3099451878" sldId="437"/>
            <ac:spMk id="231" creationId="{661B2EFF-52A5-44F1-AA7F-D79980B1C661}"/>
          </ac:spMkLst>
        </pc:spChg>
        <pc:spChg chg="add del">
          <ac:chgData name="Jaladhi Mehta" userId="09dbf198-c652-479e-8ad2-cbca5678e10c" providerId="ADAL" clId="{CD98893D-6E01-437B-B8D6-6888F04089FD}" dt="2017-12-11T20:13:13.306" v="3719" actId="6549"/>
          <ac:spMkLst>
            <pc:docMk/>
            <pc:sldMk cId="3099451878" sldId="437"/>
            <ac:spMk id="232" creationId="{A51D12D6-1A40-4DD3-A1D7-4E42CA5ADCED}"/>
          </ac:spMkLst>
        </pc:spChg>
        <pc:spChg chg="add del">
          <ac:chgData name="Jaladhi Mehta" userId="09dbf198-c652-479e-8ad2-cbca5678e10c" providerId="ADAL" clId="{CD98893D-6E01-437B-B8D6-6888F04089FD}" dt="2017-12-11T20:13:13.306" v="3719" actId="6549"/>
          <ac:spMkLst>
            <pc:docMk/>
            <pc:sldMk cId="3099451878" sldId="437"/>
            <ac:spMk id="233" creationId="{F810105C-3472-4AD4-B994-22C9FAEDFCAB}"/>
          </ac:spMkLst>
        </pc:spChg>
        <pc:spChg chg="add del">
          <ac:chgData name="Jaladhi Mehta" userId="09dbf198-c652-479e-8ad2-cbca5678e10c" providerId="ADAL" clId="{CD98893D-6E01-437B-B8D6-6888F04089FD}" dt="2017-12-11T20:13:13.306" v="3719" actId="6549"/>
          <ac:spMkLst>
            <pc:docMk/>
            <pc:sldMk cId="3099451878" sldId="437"/>
            <ac:spMk id="234" creationId="{4A1BD8EC-BA61-4606-A677-7FE37438A671}"/>
          </ac:spMkLst>
        </pc:spChg>
        <pc:spChg chg="add del">
          <ac:chgData name="Jaladhi Mehta" userId="09dbf198-c652-479e-8ad2-cbca5678e10c" providerId="ADAL" clId="{CD98893D-6E01-437B-B8D6-6888F04089FD}" dt="2017-12-11T20:13:13.306" v="3719" actId="6549"/>
          <ac:spMkLst>
            <pc:docMk/>
            <pc:sldMk cId="3099451878" sldId="437"/>
            <ac:spMk id="235" creationId="{26B4ED17-F892-4729-8D79-F99132E7011D}"/>
          </ac:spMkLst>
        </pc:spChg>
        <pc:spChg chg="add del">
          <ac:chgData name="Jaladhi Mehta" userId="09dbf198-c652-479e-8ad2-cbca5678e10c" providerId="ADAL" clId="{CD98893D-6E01-437B-B8D6-6888F04089FD}" dt="2017-12-11T20:13:13.306" v="3719" actId="6549"/>
          <ac:spMkLst>
            <pc:docMk/>
            <pc:sldMk cId="3099451878" sldId="437"/>
            <ac:spMk id="236" creationId="{175AC9B9-35A0-48E2-847F-C4F4EBD266EE}"/>
          </ac:spMkLst>
        </pc:spChg>
        <pc:spChg chg="add del">
          <ac:chgData name="Jaladhi Mehta" userId="09dbf198-c652-479e-8ad2-cbca5678e10c" providerId="ADAL" clId="{CD98893D-6E01-437B-B8D6-6888F04089FD}" dt="2017-12-11T20:13:13.306" v="3719" actId="6549"/>
          <ac:spMkLst>
            <pc:docMk/>
            <pc:sldMk cId="3099451878" sldId="437"/>
            <ac:spMk id="237" creationId="{A9A3CED8-8E3A-48A2-98F7-97803DCF564E}"/>
          </ac:spMkLst>
        </pc:spChg>
        <pc:spChg chg="add del">
          <ac:chgData name="Jaladhi Mehta" userId="09dbf198-c652-479e-8ad2-cbca5678e10c" providerId="ADAL" clId="{CD98893D-6E01-437B-B8D6-6888F04089FD}" dt="2017-12-11T20:13:13.306" v="3719" actId="6549"/>
          <ac:spMkLst>
            <pc:docMk/>
            <pc:sldMk cId="3099451878" sldId="437"/>
            <ac:spMk id="238" creationId="{DAF76FC2-F891-495E-9467-77223AEBD854}"/>
          </ac:spMkLst>
        </pc:spChg>
        <pc:spChg chg="add del">
          <ac:chgData name="Jaladhi Mehta" userId="09dbf198-c652-479e-8ad2-cbca5678e10c" providerId="ADAL" clId="{CD98893D-6E01-437B-B8D6-6888F04089FD}" dt="2017-12-11T20:13:13.306" v="3719" actId="6549"/>
          <ac:spMkLst>
            <pc:docMk/>
            <pc:sldMk cId="3099451878" sldId="437"/>
            <ac:spMk id="239" creationId="{1A4D82C4-7379-4FC2-856F-10E1291B8C51}"/>
          </ac:spMkLst>
        </pc:spChg>
        <pc:spChg chg="add del">
          <ac:chgData name="Jaladhi Mehta" userId="09dbf198-c652-479e-8ad2-cbca5678e10c" providerId="ADAL" clId="{CD98893D-6E01-437B-B8D6-6888F04089FD}" dt="2017-12-11T20:13:13.306" v="3719" actId="6549"/>
          <ac:spMkLst>
            <pc:docMk/>
            <pc:sldMk cId="3099451878" sldId="437"/>
            <ac:spMk id="240" creationId="{2BD9192A-6C1D-45D6-BC51-7B0F89031F9F}"/>
          </ac:spMkLst>
        </pc:spChg>
        <pc:spChg chg="add del">
          <ac:chgData name="Jaladhi Mehta" userId="09dbf198-c652-479e-8ad2-cbca5678e10c" providerId="ADAL" clId="{CD98893D-6E01-437B-B8D6-6888F04089FD}" dt="2017-12-11T20:13:13.306" v="3719" actId="6549"/>
          <ac:spMkLst>
            <pc:docMk/>
            <pc:sldMk cId="3099451878" sldId="437"/>
            <ac:spMk id="241" creationId="{1AA0FDA8-57EE-41AB-B65E-80AC843C586F}"/>
          </ac:spMkLst>
        </pc:spChg>
        <pc:spChg chg="add del">
          <ac:chgData name="Jaladhi Mehta" userId="09dbf198-c652-479e-8ad2-cbca5678e10c" providerId="ADAL" clId="{CD98893D-6E01-437B-B8D6-6888F04089FD}" dt="2017-12-11T20:13:13.306" v="3719" actId="6549"/>
          <ac:spMkLst>
            <pc:docMk/>
            <pc:sldMk cId="3099451878" sldId="437"/>
            <ac:spMk id="242" creationId="{27E2F217-29DF-4323-8547-1633D7CBAA39}"/>
          </ac:spMkLst>
        </pc:spChg>
        <pc:spChg chg="add">
          <ac:chgData name="Jaladhi Mehta" userId="09dbf198-c652-479e-8ad2-cbca5678e10c" providerId="ADAL" clId="{CD98893D-6E01-437B-B8D6-6888F04089FD}" dt="2017-12-11T20:13:13.576" v="3720" actId="6549"/>
          <ac:spMkLst>
            <pc:docMk/>
            <pc:sldMk cId="3099451878" sldId="437"/>
            <ac:spMk id="243" creationId="{766AA8F2-DC36-469A-B6D6-0AB5AE414AB2}"/>
          </ac:spMkLst>
        </pc:spChg>
        <pc:spChg chg="add">
          <ac:chgData name="Jaladhi Mehta" userId="09dbf198-c652-479e-8ad2-cbca5678e10c" providerId="ADAL" clId="{CD98893D-6E01-437B-B8D6-6888F04089FD}" dt="2017-12-11T20:13:13.576" v="3720" actId="6549"/>
          <ac:spMkLst>
            <pc:docMk/>
            <pc:sldMk cId="3099451878" sldId="437"/>
            <ac:spMk id="244" creationId="{D081CACC-D13A-4BE6-BCCA-426CCDBB6E13}"/>
          </ac:spMkLst>
        </pc:spChg>
        <pc:spChg chg="add">
          <ac:chgData name="Jaladhi Mehta" userId="09dbf198-c652-479e-8ad2-cbca5678e10c" providerId="ADAL" clId="{CD98893D-6E01-437B-B8D6-6888F04089FD}" dt="2017-12-11T20:13:13.576" v="3720" actId="6549"/>
          <ac:spMkLst>
            <pc:docMk/>
            <pc:sldMk cId="3099451878" sldId="437"/>
            <ac:spMk id="245" creationId="{925180A8-FC37-48D9-A504-BDAA9B476A51}"/>
          </ac:spMkLst>
        </pc:spChg>
        <pc:spChg chg="add">
          <ac:chgData name="Jaladhi Mehta" userId="09dbf198-c652-479e-8ad2-cbca5678e10c" providerId="ADAL" clId="{CD98893D-6E01-437B-B8D6-6888F04089FD}" dt="2017-12-11T20:13:13.576" v="3720" actId="6549"/>
          <ac:spMkLst>
            <pc:docMk/>
            <pc:sldMk cId="3099451878" sldId="437"/>
            <ac:spMk id="246" creationId="{67FE9A3A-A925-4501-8288-49D81776E62E}"/>
          </ac:spMkLst>
        </pc:spChg>
        <pc:spChg chg="add">
          <ac:chgData name="Jaladhi Mehta" userId="09dbf198-c652-479e-8ad2-cbca5678e10c" providerId="ADAL" clId="{CD98893D-6E01-437B-B8D6-6888F04089FD}" dt="2017-12-11T20:13:13.576" v="3720" actId="6549"/>
          <ac:spMkLst>
            <pc:docMk/>
            <pc:sldMk cId="3099451878" sldId="437"/>
            <ac:spMk id="247" creationId="{2A705551-25CE-4C31-A553-902AF9E91C3C}"/>
          </ac:spMkLst>
        </pc:spChg>
        <pc:spChg chg="add">
          <ac:chgData name="Jaladhi Mehta" userId="09dbf198-c652-479e-8ad2-cbca5678e10c" providerId="ADAL" clId="{CD98893D-6E01-437B-B8D6-6888F04089FD}" dt="2017-12-11T20:13:13.576" v="3720" actId="6549"/>
          <ac:spMkLst>
            <pc:docMk/>
            <pc:sldMk cId="3099451878" sldId="437"/>
            <ac:spMk id="248" creationId="{62A6DA8A-AE82-46F2-9715-6BC01D21D815}"/>
          </ac:spMkLst>
        </pc:spChg>
        <pc:spChg chg="add">
          <ac:chgData name="Jaladhi Mehta" userId="09dbf198-c652-479e-8ad2-cbca5678e10c" providerId="ADAL" clId="{CD98893D-6E01-437B-B8D6-6888F04089FD}" dt="2017-12-11T20:13:13.576" v="3720" actId="6549"/>
          <ac:spMkLst>
            <pc:docMk/>
            <pc:sldMk cId="3099451878" sldId="437"/>
            <ac:spMk id="249" creationId="{E4A483C9-6AF4-4BE9-9D20-94C091B08F59}"/>
          </ac:spMkLst>
        </pc:spChg>
        <pc:spChg chg="add">
          <ac:chgData name="Jaladhi Mehta" userId="09dbf198-c652-479e-8ad2-cbca5678e10c" providerId="ADAL" clId="{CD98893D-6E01-437B-B8D6-6888F04089FD}" dt="2017-12-11T20:13:13.576" v="3720" actId="6549"/>
          <ac:spMkLst>
            <pc:docMk/>
            <pc:sldMk cId="3099451878" sldId="437"/>
            <ac:spMk id="250" creationId="{07C703FD-E802-4600-8D0D-99219AC27D7E}"/>
          </ac:spMkLst>
        </pc:spChg>
        <pc:spChg chg="add">
          <ac:chgData name="Jaladhi Mehta" userId="09dbf198-c652-479e-8ad2-cbca5678e10c" providerId="ADAL" clId="{CD98893D-6E01-437B-B8D6-6888F04089FD}" dt="2017-12-11T20:13:13.576" v="3720" actId="6549"/>
          <ac:spMkLst>
            <pc:docMk/>
            <pc:sldMk cId="3099451878" sldId="437"/>
            <ac:spMk id="251" creationId="{B610AC02-4C92-41C7-8644-22D9DB506A8B}"/>
          </ac:spMkLst>
        </pc:spChg>
        <pc:spChg chg="add">
          <ac:chgData name="Jaladhi Mehta" userId="09dbf198-c652-479e-8ad2-cbca5678e10c" providerId="ADAL" clId="{CD98893D-6E01-437B-B8D6-6888F04089FD}" dt="2017-12-11T20:13:13.576" v="3720" actId="6549"/>
          <ac:spMkLst>
            <pc:docMk/>
            <pc:sldMk cId="3099451878" sldId="437"/>
            <ac:spMk id="296" creationId="{720A3D2C-EF63-424B-96C9-89EDA1BC4BDE}"/>
          </ac:spMkLst>
        </pc:spChg>
        <pc:spChg chg="add">
          <ac:chgData name="Jaladhi Mehta" userId="09dbf198-c652-479e-8ad2-cbca5678e10c" providerId="ADAL" clId="{CD98893D-6E01-437B-B8D6-6888F04089FD}" dt="2017-12-11T20:13:13.576" v="3720" actId="6549"/>
          <ac:spMkLst>
            <pc:docMk/>
            <pc:sldMk cId="3099451878" sldId="437"/>
            <ac:spMk id="297" creationId="{C34FE6C8-DCAE-49A2-AB69-A5B500E566F9}"/>
          </ac:spMkLst>
        </pc:spChg>
        <pc:spChg chg="add">
          <ac:chgData name="Jaladhi Mehta" userId="09dbf198-c652-479e-8ad2-cbca5678e10c" providerId="ADAL" clId="{CD98893D-6E01-437B-B8D6-6888F04089FD}" dt="2017-12-11T20:13:13.576" v="3720" actId="6549"/>
          <ac:spMkLst>
            <pc:docMk/>
            <pc:sldMk cId="3099451878" sldId="437"/>
            <ac:spMk id="298" creationId="{0FC18F66-A7E3-44AA-8E77-0382870DDF57}"/>
          </ac:spMkLst>
        </pc:spChg>
        <pc:spChg chg="add">
          <ac:chgData name="Jaladhi Mehta" userId="09dbf198-c652-479e-8ad2-cbca5678e10c" providerId="ADAL" clId="{CD98893D-6E01-437B-B8D6-6888F04089FD}" dt="2017-12-11T20:13:13.576" v="3720" actId="6549"/>
          <ac:spMkLst>
            <pc:docMk/>
            <pc:sldMk cId="3099451878" sldId="437"/>
            <ac:spMk id="299" creationId="{9E4BBE4B-2C7A-486D-89AA-DBEAFEC69270}"/>
          </ac:spMkLst>
        </pc:spChg>
        <pc:spChg chg="add">
          <ac:chgData name="Jaladhi Mehta" userId="09dbf198-c652-479e-8ad2-cbca5678e10c" providerId="ADAL" clId="{CD98893D-6E01-437B-B8D6-6888F04089FD}" dt="2017-12-11T20:13:13.576" v="3720" actId="6549"/>
          <ac:spMkLst>
            <pc:docMk/>
            <pc:sldMk cId="3099451878" sldId="437"/>
            <ac:spMk id="300" creationId="{33AE82A6-FEFF-4925-AC8D-5B191B7D218E}"/>
          </ac:spMkLst>
        </pc:spChg>
        <pc:spChg chg="add">
          <ac:chgData name="Jaladhi Mehta" userId="09dbf198-c652-479e-8ad2-cbca5678e10c" providerId="ADAL" clId="{CD98893D-6E01-437B-B8D6-6888F04089FD}" dt="2017-12-11T20:13:13.576" v="3720" actId="6549"/>
          <ac:spMkLst>
            <pc:docMk/>
            <pc:sldMk cId="3099451878" sldId="437"/>
            <ac:spMk id="301" creationId="{4C936DFA-4E68-4EAD-9EC4-D4DF2CF2FD36}"/>
          </ac:spMkLst>
        </pc:spChg>
        <pc:spChg chg="add">
          <ac:chgData name="Jaladhi Mehta" userId="09dbf198-c652-479e-8ad2-cbca5678e10c" providerId="ADAL" clId="{CD98893D-6E01-437B-B8D6-6888F04089FD}" dt="2017-12-11T20:13:13.576" v="3720" actId="6549"/>
          <ac:spMkLst>
            <pc:docMk/>
            <pc:sldMk cId="3099451878" sldId="437"/>
            <ac:spMk id="302" creationId="{47997DD5-CEFE-4D23-BFC7-B9FEBF5D5F3F}"/>
          </ac:spMkLst>
        </pc:spChg>
        <pc:spChg chg="add">
          <ac:chgData name="Jaladhi Mehta" userId="09dbf198-c652-479e-8ad2-cbca5678e10c" providerId="ADAL" clId="{CD98893D-6E01-437B-B8D6-6888F04089FD}" dt="2017-12-11T20:13:13.576" v="3720" actId="6549"/>
          <ac:spMkLst>
            <pc:docMk/>
            <pc:sldMk cId="3099451878" sldId="437"/>
            <ac:spMk id="303" creationId="{2F9015E1-2EE6-4616-8D7D-E534FBA7FAD6}"/>
          </ac:spMkLst>
        </pc:spChg>
        <pc:spChg chg="add">
          <ac:chgData name="Jaladhi Mehta" userId="09dbf198-c652-479e-8ad2-cbca5678e10c" providerId="ADAL" clId="{CD98893D-6E01-437B-B8D6-6888F04089FD}" dt="2017-12-11T20:13:13.576" v="3720" actId="6549"/>
          <ac:spMkLst>
            <pc:docMk/>
            <pc:sldMk cId="3099451878" sldId="437"/>
            <ac:spMk id="304" creationId="{27212BC4-2C5B-467C-A185-0E010B49FED0}"/>
          </ac:spMkLst>
        </pc:spChg>
        <pc:spChg chg="add">
          <ac:chgData name="Jaladhi Mehta" userId="09dbf198-c652-479e-8ad2-cbca5678e10c" providerId="ADAL" clId="{CD98893D-6E01-437B-B8D6-6888F04089FD}" dt="2017-12-11T20:13:13.576" v="3720" actId="6549"/>
          <ac:spMkLst>
            <pc:docMk/>
            <pc:sldMk cId="3099451878" sldId="437"/>
            <ac:spMk id="305" creationId="{8B5A8E31-2748-4266-8CF7-3F0AEA7B5AC7}"/>
          </ac:spMkLst>
        </pc:spChg>
        <pc:spChg chg="add">
          <ac:chgData name="Jaladhi Mehta" userId="09dbf198-c652-479e-8ad2-cbca5678e10c" providerId="ADAL" clId="{CD98893D-6E01-437B-B8D6-6888F04089FD}" dt="2017-12-11T20:13:13.576" v="3720" actId="6549"/>
          <ac:spMkLst>
            <pc:docMk/>
            <pc:sldMk cId="3099451878" sldId="437"/>
            <ac:spMk id="310" creationId="{A9492547-FB27-406D-9EF5-1390E1309AE2}"/>
          </ac:spMkLst>
        </pc:spChg>
        <pc:spChg chg="add">
          <ac:chgData name="Jaladhi Mehta" userId="09dbf198-c652-479e-8ad2-cbca5678e10c" providerId="ADAL" clId="{CD98893D-6E01-437B-B8D6-6888F04089FD}" dt="2017-12-11T20:13:13.576" v="3720" actId="6549"/>
          <ac:spMkLst>
            <pc:docMk/>
            <pc:sldMk cId="3099451878" sldId="437"/>
            <ac:spMk id="311" creationId="{615A05AE-3F26-4221-BDF2-492FEDBA1EEA}"/>
          </ac:spMkLst>
        </pc:spChg>
        <pc:spChg chg="add">
          <ac:chgData name="Jaladhi Mehta" userId="09dbf198-c652-479e-8ad2-cbca5678e10c" providerId="ADAL" clId="{CD98893D-6E01-437B-B8D6-6888F04089FD}" dt="2017-12-11T20:13:13.576" v="3720" actId="6549"/>
          <ac:spMkLst>
            <pc:docMk/>
            <pc:sldMk cId="3099451878" sldId="437"/>
            <ac:spMk id="312" creationId="{45BC7943-112A-4DE4-AD3A-332DC3FAE52B}"/>
          </ac:spMkLst>
        </pc:spChg>
        <pc:spChg chg="add">
          <ac:chgData name="Jaladhi Mehta" userId="09dbf198-c652-479e-8ad2-cbca5678e10c" providerId="ADAL" clId="{CD98893D-6E01-437B-B8D6-6888F04089FD}" dt="2017-12-11T20:13:13.576" v="3720" actId="6549"/>
          <ac:spMkLst>
            <pc:docMk/>
            <pc:sldMk cId="3099451878" sldId="437"/>
            <ac:spMk id="313" creationId="{E01D55F4-3915-40EB-906F-502173221DA8}"/>
          </ac:spMkLst>
        </pc:spChg>
        <pc:spChg chg="add">
          <ac:chgData name="Jaladhi Mehta" userId="09dbf198-c652-479e-8ad2-cbca5678e10c" providerId="ADAL" clId="{CD98893D-6E01-437B-B8D6-6888F04089FD}" dt="2017-12-11T20:13:13.576" v="3720" actId="6549"/>
          <ac:spMkLst>
            <pc:docMk/>
            <pc:sldMk cId="3099451878" sldId="437"/>
            <ac:spMk id="314" creationId="{07829F2C-51C1-4DB5-A138-B10E6659C425}"/>
          </ac:spMkLst>
        </pc:spChg>
        <pc:spChg chg="add">
          <ac:chgData name="Jaladhi Mehta" userId="09dbf198-c652-479e-8ad2-cbca5678e10c" providerId="ADAL" clId="{CD98893D-6E01-437B-B8D6-6888F04089FD}" dt="2017-12-11T20:13:13.576" v="3720" actId="6549"/>
          <ac:spMkLst>
            <pc:docMk/>
            <pc:sldMk cId="3099451878" sldId="437"/>
            <ac:spMk id="315" creationId="{BF0BB915-38B7-44F8-9581-8E3C556805B3}"/>
          </ac:spMkLst>
        </pc:spChg>
        <pc:spChg chg="add">
          <ac:chgData name="Jaladhi Mehta" userId="09dbf198-c652-479e-8ad2-cbca5678e10c" providerId="ADAL" clId="{CD98893D-6E01-437B-B8D6-6888F04089FD}" dt="2017-12-11T20:13:13.576" v="3720" actId="6549"/>
          <ac:spMkLst>
            <pc:docMk/>
            <pc:sldMk cId="3099451878" sldId="437"/>
            <ac:spMk id="316" creationId="{9409F18F-F77E-4197-A545-827D20E28D64}"/>
          </ac:spMkLst>
        </pc:spChg>
        <pc:spChg chg="add">
          <ac:chgData name="Jaladhi Mehta" userId="09dbf198-c652-479e-8ad2-cbca5678e10c" providerId="ADAL" clId="{CD98893D-6E01-437B-B8D6-6888F04089FD}" dt="2017-12-11T20:13:13.576" v="3720" actId="6549"/>
          <ac:spMkLst>
            <pc:docMk/>
            <pc:sldMk cId="3099451878" sldId="437"/>
            <ac:spMk id="317" creationId="{FFC77B62-8895-4003-AD5C-389963AA1D5C}"/>
          </ac:spMkLst>
        </pc:spChg>
        <pc:spChg chg="add">
          <ac:chgData name="Jaladhi Mehta" userId="09dbf198-c652-479e-8ad2-cbca5678e10c" providerId="ADAL" clId="{CD98893D-6E01-437B-B8D6-6888F04089FD}" dt="2017-12-11T20:13:13.576" v="3720" actId="6549"/>
          <ac:spMkLst>
            <pc:docMk/>
            <pc:sldMk cId="3099451878" sldId="437"/>
            <ac:spMk id="318" creationId="{5C1DF997-F210-4E95-B550-D78AF5BCE0E1}"/>
          </ac:spMkLst>
        </pc:spChg>
        <pc:spChg chg="add">
          <ac:chgData name="Jaladhi Mehta" userId="09dbf198-c652-479e-8ad2-cbca5678e10c" providerId="ADAL" clId="{CD98893D-6E01-437B-B8D6-6888F04089FD}" dt="2017-12-11T20:13:13.576" v="3720" actId="6549"/>
          <ac:spMkLst>
            <pc:docMk/>
            <pc:sldMk cId="3099451878" sldId="437"/>
            <ac:spMk id="319" creationId="{4460923E-AF21-42C6-93C4-92EEF86CD72A}"/>
          </ac:spMkLst>
        </pc:spChg>
        <pc:spChg chg="add">
          <ac:chgData name="Jaladhi Mehta" userId="09dbf198-c652-479e-8ad2-cbca5678e10c" providerId="ADAL" clId="{CD98893D-6E01-437B-B8D6-6888F04089FD}" dt="2017-12-11T20:13:13.576" v="3720" actId="6549"/>
          <ac:spMkLst>
            <pc:docMk/>
            <pc:sldMk cId="3099451878" sldId="437"/>
            <ac:spMk id="320" creationId="{421FFEEC-0DAA-433A-BFB9-ED967D86E80B}"/>
          </ac:spMkLst>
        </pc:spChg>
        <pc:spChg chg="add">
          <ac:chgData name="Jaladhi Mehta" userId="09dbf198-c652-479e-8ad2-cbca5678e10c" providerId="ADAL" clId="{CD98893D-6E01-437B-B8D6-6888F04089FD}" dt="2017-12-11T20:13:13.576" v="3720" actId="6549"/>
          <ac:spMkLst>
            <pc:docMk/>
            <pc:sldMk cId="3099451878" sldId="437"/>
            <ac:spMk id="321" creationId="{6E2CC01E-DB42-4293-BFBF-91E956BE3EEC}"/>
          </ac:spMkLst>
        </pc:spChg>
        <pc:spChg chg="add">
          <ac:chgData name="Jaladhi Mehta" userId="09dbf198-c652-479e-8ad2-cbca5678e10c" providerId="ADAL" clId="{CD98893D-6E01-437B-B8D6-6888F04089FD}" dt="2017-12-11T20:13:13.576" v="3720" actId="6549"/>
          <ac:spMkLst>
            <pc:docMk/>
            <pc:sldMk cId="3099451878" sldId="437"/>
            <ac:spMk id="322" creationId="{DA0C235A-CDF8-4180-AB1C-DE9C73BA0EBB}"/>
          </ac:spMkLst>
        </pc:spChg>
        <pc:spChg chg="add">
          <ac:chgData name="Jaladhi Mehta" userId="09dbf198-c652-479e-8ad2-cbca5678e10c" providerId="ADAL" clId="{CD98893D-6E01-437B-B8D6-6888F04089FD}" dt="2017-12-11T20:13:13.576" v="3720" actId="6549"/>
          <ac:spMkLst>
            <pc:docMk/>
            <pc:sldMk cId="3099451878" sldId="437"/>
            <ac:spMk id="323" creationId="{A2313586-505C-4D3F-95B4-0FEB26418E21}"/>
          </ac:spMkLst>
        </pc:spChg>
        <pc:grpChg chg="add del">
          <ac:chgData name="Jaladhi Mehta" userId="09dbf198-c652-479e-8ad2-cbca5678e10c" providerId="ADAL" clId="{CD98893D-6E01-437B-B8D6-6888F04089FD}" dt="2017-12-11T20:12:30.752" v="3712" actId="6549"/>
          <ac:grpSpMkLst>
            <pc:docMk/>
            <pc:sldMk cId="3099451878" sldId="437"/>
            <ac:grpSpMk id="13" creationId="{9423A631-2BBD-4B02-A4C2-541F3B374A3F}"/>
          </ac:grpSpMkLst>
        </pc:grpChg>
        <pc:grpChg chg="add del">
          <ac:chgData name="Jaladhi Mehta" userId="09dbf198-c652-479e-8ad2-cbca5678e10c" providerId="ADAL" clId="{CD98893D-6E01-437B-B8D6-6888F04089FD}" dt="2017-12-11T20:12:30.752" v="3712" actId="6549"/>
          <ac:grpSpMkLst>
            <pc:docMk/>
            <pc:sldMk cId="3099451878" sldId="437"/>
            <ac:grpSpMk id="21" creationId="{3CC80568-3259-475D-8A90-A2893BB1D6D4}"/>
          </ac:grpSpMkLst>
        </pc:grpChg>
        <pc:grpChg chg="add del">
          <ac:chgData name="Jaladhi Mehta" userId="09dbf198-c652-479e-8ad2-cbca5678e10c" providerId="ADAL" clId="{CD98893D-6E01-437B-B8D6-6888F04089FD}" dt="2017-12-11T20:12:30.752" v="3712" actId="6549"/>
          <ac:grpSpMkLst>
            <pc:docMk/>
            <pc:sldMk cId="3099451878" sldId="437"/>
            <ac:grpSpMk id="29" creationId="{CB2088B6-A93B-442E-A1E3-27A8F03EA94C}"/>
          </ac:grpSpMkLst>
        </pc:grpChg>
        <pc:grpChg chg="add del">
          <ac:chgData name="Jaladhi Mehta" userId="09dbf198-c652-479e-8ad2-cbca5678e10c" providerId="ADAL" clId="{CD98893D-6E01-437B-B8D6-6888F04089FD}" dt="2017-12-11T20:12:30.752" v="3712" actId="6549"/>
          <ac:grpSpMkLst>
            <pc:docMk/>
            <pc:sldMk cId="3099451878" sldId="437"/>
            <ac:grpSpMk id="41" creationId="{1D4BDFEE-0BA7-4AE0-A438-155743BF4374}"/>
          </ac:grpSpMkLst>
        </pc:grpChg>
        <pc:grpChg chg="add del">
          <ac:chgData name="Jaladhi Mehta" userId="09dbf198-c652-479e-8ad2-cbca5678e10c" providerId="ADAL" clId="{CD98893D-6E01-437B-B8D6-6888F04089FD}" dt="2017-12-11T20:12:30.752" v="3712" actId="6549"/>
          <ac:grpSpMkLst>
            <pc:docMk/>
            <pc:sldMk cId="3099451878" sldId="437"/>
            <ac:grpSpMk id="49" creationId="{02246563-DCB3-494E-8B35-80EAE2C2D2D5}"/>
          </ac:grpSpMkLst>
        </pc:grpChg>
        <pc:grpChg chg="add del">
          <ac:chgData name="Jaladhi Mehta" userId="09dbf198-c652-479e-8ad2-cbca5678e10c" providerId="ADAL" clId="{CD98893D-6E01-437B-B8D6-6888F04089FD}" dt="2017-12-11T20:12:38.502" v="3714" actId="6549"/>
          <ac:grpSpMkLst>
            <pc:docMk/>
            <pc:sldMk cId="3099451878" sldId="437"/>
            <ac:grpSpMk id="92" creationId="{CEC4B021-7CDC-49F3-8729-25D21CF50A2F}"/>
          </ac:grpSpMkLst>
        </pc:grpChg>
        <pc:grpChg chg="add del">
          <ac:chgData name="Jaladhi Mehta" userId="09dbf198-c652-479e-8ad2-cbca5678e10c" providerId="ADAL" clId="{CD98893D-6E01-437B-B8D6-6888F04089FD}" dt="2017-12-11T20:12:38.502" v="3714" actId="6549"/>
          <ac:grpSpMkLst>
            <pc:docMk/>
            <pc:sldMk cId="3099451878" sldId="437"/>
            <ac:grpSpMk id="100" creationId="{A384C54C-CE4B-4200-854F-C12FC31637E4}"/>
          </ac:grpSpMkLst>
        </pc:grpChg>
        <pc:grpChg chg="add del">
          <ac:chgData name="Jaladhi Mehta" userId="09dbf198-c652-479e-8ad2-cbca5678e10c" providerId="ADAL" clId="{CD98893D-6E01-437B-B8D6-6888F04089FD}" dt="2017-12-11T20:12:38.502" v="3714" actId="6549"/>
          <ac:grpSpMkLst>
            <pc:docMk/>
            <pc:sldMk cId="3099451878" sldId="437"/>
            <ac:grpSpMk id="108" creationId="{9AD0CAF3-7260-4FA2-BBC9-7A46983F443D}"/>
          </ac:grpSpMkLst>
        </pc:grpChg>
        <pc:grpChg chg="add del">
          <ac:chgData name="Jaladhi Mehta" userId="09dbf198-c652-479e-8ad2-cbca5678e10c" providerId="ADAL" clId="{CD98893D-6E01-437B-B8D6-6888F04089FD}" dt="2017-12-11T20:12:38.502" v="3714" actId="6549"/>
          <ac:grpSpMkLst>
            <pc:docMk/>
            <pc:sldMk cId="3099451878" sldId="437"/>
            <ac:grpSpMk id="120" creationId="{E8B67F64-4F46-403F-BAB5-376B2B2A353A}"/>
          </ac:grpSpMkLst>
        </pc:grpChg>
        <pc:grpChg chg="add del">
          <ac:chgData name="Jaladhi Mehta" userId="09dbf198-c652-479e-8ad2-cbca5678e10c" providerId="ADAL" clId="{CD98893D-6E01-437B-B8D6-6888F04089FD}" dt="2017-12-11T20:12:38.502" v="3714" actId="6549"/>
          <ac:grpSpMkLst>
            <pc:docMk/>
            <pc:sldMk cId="3099451878" sldId="437"/>
            <ac:grpSpMk id="128" creationId="{D8F0335F-0215-48C6-8A3D-8DA69B28D82F}"/>
          </ac:grpSpMkLst>
        </pc:grpChg>
        <pc:grpChg chg="add del">
          <ac:chgData name="Jaladhi Mehta" userId="09dbf198-c652-479e-8ad2-cbca5678e10c" providerId="ADAL" clId="{CD98893D-6E01-437B-B8D6-6888F04089FD}" dt="2017-12-11T20:13:13.306" v="3719" actId="6549"/>
          <ac:grpSpMkLst>
            <pc:docMk/>
            <pc:sldMk cId="3099451878" sldId="437"/>
            <ac:grpSpMk id="171" creationId="{8A08D13F-D102-435B-B2E1-52F2C3E87BBD}"/>
          </ac:grpSpMkLst>
        </pc:grpChg>
        <pc:grpChg chg="add del">
          <ac:chgData name="Jaladhi Mehta" userId="09dbf198-c652-479e-8ad2-cbca5678e10c" providerId="ADAL" clId="{CD98893D-6E01-437B-B8D6-6888F04089FD}" dt="2017-12-11T20:13:13.306" v="3719" actId="6549"/>
          <ac:grpSpMkLst>
            <pc:docMk/>
            <pc:sldMk cId="3099451878" sldId="437"/>
            <ac:grpSpMk id="179" creationId="{2512F40C-41F0-4BF2-895D-30605B64E27B}"/>
          </ac:grpSpMkLst>
        </pc:grpChg>
        <pc:grpChg chg="add del">
          <ac:chgData name="Jaladhi Mehta" userId="09dbf198-c652-479e-8ad2-cbca5678e10c" providerId="ADAL" clId="{CD98893D-6E01-437B-B8D6-6888F04089FD}" dt="2017-12-11T20:13:13.306" v="3719" actId="6549"/>
          <ac:grpSpMkLst>
            <pc:docMk/>
            <pc:sldMk cId="3099451878" sldId="437"/>
            <ac:grpSpMk id="187" creationId="{A7C35547-6062-4021-BE56-48F66991FB4F}"/>
          </ac:grpSpMkLst>
        </pc:grpChg>
        <pc:grpChg chg="add del">
          <ac:chgData name="Jaladhi Mehta" userId="09dbf198-c652-479e-8ad2-cbca5678e10c" providerId="ADAL" clId="{CD98893D-6E01-437B-B8D6-6888F04089FD}" dt="2017-12-11T20:13:13.306" v="3719" actId="6549"/>
          <ac:grpSpMkLst>
            <pc:docMk/>
            <pc:sldMk cId="3099451878" sldId="437"/>
            <ac:grpSpMk id="199" creationId="{710E1728-B263-4134-87DA-A1B3D05CAA93}"/>
          </ac:grpSpMkLst>
        </pc:grpChg>
        <pc:grpChg chg="add del">
          <ac:chgData name="Jaladhi Mehta" userId="09dbf198-c652-479e-8ad2-cbca5678e10c" providerId="ADAL" clId="{CD98893D-6E01-437B-B8D6-6888F04089FD}" dt="2017-12-11T20:13:13.306" v="3719" actId="6549"/>
          <ac:grpSpMkLst>
            <pc:docMk/>
            <pc:sldMk cId="3099451878" sldId="437"/>
            <ac:grpSpMk id="207" creationId="{0EFB4672-2F46-42CA-BBA0-792424D55943}"/>
          </ac:grpSpMkLst>
        </pc:grpChg>
        <pc:grpChg chg="add">
          <ac:chgData name="Jaladhi Mehta" userId="09dbf198-c652-479e-8ad2-cbca5678e10c" providerId="ADAL" clId="{CD98893D-6E01-437B-B8D6-6888F04089FD}" dt="2017-12-11T20:13:13.576" v="3720" actId="6549"/>
          <ac:grpSpMkLst>
            <pc:docMk/>
            <pc:sldMk cId="3099451878" sldId="437"/>
            <ac:grpSpMk id="252" creationId="{9E941AFE-9C65-4452-8DF7-A85F5E31635A}"/>
          </ac:grpSpMkLst>
        </pc:grpChg>
        <pc:grpChg chg="add">
          <ac:chgData name="Jaladhi Mehta" userId="09dbf198-c652-479e-8ad2-cbca5678e10c" providerId="ADAL" clId="{CD98893D-6E01-437B-B8D6-6888F04089FD}" dt="2017-12-11T20:13:13.576" v="3720" actId="6549"/>
          <ac:grpSpMkLst>
            <pc:docMk/>
            <pc:sldMk cId="3099451878" sldId="437"/>
            <ac:grpSpMk id="260" creationId="{FF0B729C-6549-4047-9DB5-12E88F7A0CA2}"/>
          </ac:grpSpMkLst>
        </pc:grpChg>
        <pc:grpChg chg="add">
          <ac:chgData name="Jaladhi Mehta" userId="09dbf198-c652-479e-8ad2-cbca5678e10c" providerId="ADAL" clId="{CD98893D-6E01-437B-B8D6-6888F04089FD}" dt="2017-12-11T20:13:13.576" v="3720" actId="6549"/>
          <ac:grpSpMkLst>
            <pc:docMk/>
            <pc:sldMk cId="3099451878" sldId="437"/>
            <ac:grpSpMk id="268" creationId="{94E4CCE3-2F6B-4379-B476-43E5C4589E31}"/>
          </ac:grpSpMkLst>
        </pc:grpChg>
        <pc:grpChg chg="add">
          <ac:chgData name="Jaladhi Mehta" userId="09dbf198-c652-479e-8ad2-cbca5678e10c" providerId="ADAL" clId="{CD98893D-6E01-437B-B8D6-6888F04089FD}" dt="2017-12-11T20:13:13.576" v="3720" actId="6549"/>
          <ac:grpSpMkLst>
            <pc:docMk/>
            <pc:sldMk cId="3099451878" sldId="437"/>
            <ac:grpSpMk id="280" creationId="{32D01C01-C4CE-4CB2-AD9A-B65F7C082D24}"/>
          </ac:grpSpMkLst>
        </pc:grpChg>
        <pc:grpChg chg="add">
          <ac:chgData name="Jaladhi Mehta" userId="09dbf198-c652-479e-8ad2-cbca5678e10c" providerId="ADAL" clId="{CD98893D-6E01-437B-B8D6-6888F04089FD}" dt="2017-12-11T20:13:13.576" v="3720" actId="6549"/>
          <ac:grpSpMkLst>
            <pc:docMk/>
            <pc:sldMk cId="3099451878" sldId="437"/>
            <ac:grpSpMk id="288" creationId="{6EF88F9E-D30A-43AB-89C1-75A18BC1E7D3}"/>
          </ac:grpSpMkLst>
        </pc:grpChg>
        <pc:cxnChg chg="add del">
          <ac:chgData name="Jaladhi Mehta" userId="09dbf198-c652-479e-8ad2-cbca5678e10c" providerId="ADAL" clId="{CD98893D-6E01-437B-B8D6-6888F04089FD}" dt="2017-12-11T20:12:30.752" v="3712" actId="6549"/>
          <ac:cxnSpMkLst>
            <pc:docMk/>
            <pc:sldMk cId="3099451878" sldId="437"/>
            <ac:cxnSpMk id="37" creationId="{0DC7EB66-420B-49AF-87F5-EE0634A64294}"/>
          </ac:cxnSpMkLst>
        </pc:cxnChg>
        <pc:cxnChg chg="add del">
          <ac:chgData name="Jaladhi Mehta" userId="09dbf198-c652-479e-8ad2-cbca5678e10c" providerId="ADAL" clId="{CD98893D-6E01-437B-B8D6-6888F04089FD}" dt="2017-12-11T20:12:30.752" v="3712" actId="6549"/>
          <ac:cxnSpMkLst>
            <pc:docMk/>
            <pc:sldMk cId="3099451878" sldId="437"/>
            <ac:cxnSpMk id="38" creationId="{ECCD11BF-DF23-42C7-B39B-352A883DD0F3}"/>
          </ac:cxnSpMkLst>
        </pc:cxnChg>
        <pc:cxnChg chg="add del">
          <ac:chgData name="Jaladhi Mehta" userId="09dbf198-c652-479e-8ad2-cbca5678e10c" providerId="ADAL" clId="{CD98893D-6E01-437B-B8D6-6888F04089FD}" dt="2017-12-11T20:12:30.752" v="3712" actId="6549"/>
          <ac:cxnSpMkLst>
            <pc:docMk/>
            <pc:sldMk cId="3099451878" sldId="437"/>
            <ac:cxnSpMk id="39" creationId="{5E43665A-37AB-41E6-97E4-8B10E9AADBED}"/>
          </ac:cxnSpMkLst>
        </pc:cxnChg>
        <pc:cxnChg chg="add del">
          <ac:chgData name="Jaladhi Mehta" userId="09dbf198-c652-479e-8ad2-cbca5678e10c" providerId="ADAL" clId="{CD98893D-6E01-437B-B8D6-6888F04089FD}" dt="2017-12-11T20:12:30.752" v="3712" actId="6549"/>
          <ac:cxnSpMkLst>
            <pc:docMk/>
            <pc:sldMk cId="3099451878" sldId="437"/>
            <ac:cxnSpMk id="40" creationId="{019AE645-05A0-4C0F-A32E-D82629C603C9}"/>
          </ac:cxnSpMkLst>
        </pc:cxnChg>
        <pc:cxnChg chg="add del">
          <ac:chgData name="Jaladhi Mehta" userId="09dbf198-c652-479e-8ad2-cbca5678e10c" providerId="ADAL" clId="{CD98893D-6E01-437B-B8D6-6888F04089FD}" dt="2017-12-11T20:12:30.752" v="3712" actId="6549"/>
          <ac:cxnSpMkLst>
            <pc:docMk/>
            <pc:sldMk cId="3099451878" sldId="437"/>
            <ac:cxnSpMk id="67" creationId="{DC8FD393-2FB9-496B-8824-0BDD1F55687F}"/>
          </ac:cxnSpMkLst>
        </pc:cxnChg>
        <pc:cxnChg chg="add del">
          <ac:chgData name="Jaladhi Mehta" userId="09dbf198-c652-479e-8ad2-cbca5678e10c" providerId="ADAL" clId="{CD98893D-6E01-437B-B8D6-6888F04089FD}" dt="2017-12-11T20:12:30.752" v="3712" actId="6549"/>
          <ac:cxnSpMkLst>
            <pc:docMk/>
            <pc:sldMk cId="3099451878" sldId="437"/>
            <ac:cxnSpMk id="68" creationId="{9303314D-E384-4803-83B3-8D2A501AD5D6}"/>
          </ac:cxnSpMkLst>
        </pc:cxnChg>
        <pc:cxnChg chg="add del">
          <ac:chgData name="Jaladhi Mehta" userId="09dbf198-c652-479e-8ad2-cbca5678e10c" providerId="ADAL" clId="{CD98893D-6E01-437B-B8D6-6888F04089FD}" dt="2017-12-11T20:12:30.752" v="3712" actId="6549"/>
          <ac:cxnSpMkLst>
            <pc:docMk/>
            <pc:sldMk cId="3099451878" sldId="437"/>
            <ac:cxnSpMk id="69" creationId="{5A2EE02B-8A1A-4AD8-900D-FFBA1243F3D8}"/>
          </ac:cxnSpMkLst>
        </pc:cxnChg>
        <pc:cxnChg chg="add del">
          <ac:chgData name="Jaladhi Mehta" userId="09dbf198-c652-479e-8ad2-cbca5678e10c" providerId="ADAL" clId="{CD98893D-6E01-437B-B8D6-6888F04089FD}" dt="2017-12-11T20:12:30.752" v="3712" actId="6549"/>
          <ac:cxnSpMkLst>
            <pc:docMk/>
            <pc:sldMk cId="3099451878" sldId="437"/>
            <ac:cxnSpMk id="70" creationId="{99A0F849-2BB9-4A1F-8759-85CE77C66725}"/>
          </ac:cxnSpMkLst>
        </pc:cxnChg>
        <pc:cxnChg chg="add del">
          <ac:chgData name="Jaladhi Mehta" userId="09dbf198-c652-479e-8ad2-cbca5678e10c" providerId="ADAL" clId="{CD98893D-6E01-437B-B8D6-6888F04089FD}" dt="2017-12-11T20:12:38.502" v="3714" actId="6549"/>
          <ac:cxnSpMkLst>
            <pc:docMk/>
            <pc:sldMk cId="3099451878" sldId="437"/>
            <ac:cxnSpMk id="116" creationId="{BD0BCCBB-39A0-4832-A1A3-CBAACBD4BE7E}"/>
          </ac:cxnSpMkLst>
        </pc:cxnChg>
        <pc:cxnChg chg="add del">
          <ac:chgData name="Jaladhi Mehta" userId="09dbf198-c652-479e-8ad2-cbca5678e10c" providerId="ADAL" clId="{CD98893D-6E01-437B-B8D6-6888F04089FD}" dt="2017-12-11T20:12:38.502" v="3714" actId="6549"/>
          <ac:cxnSpMkLst>
            <pc:docMk/>
            <pc:sldMk cId="3099451878" sldId="437"/>
            <ac:cxnSpMk id="117" creationId="{AFC06557-1C76-4455-8177-6621AA7BC545}"/>
          </ac:cxnSpMkLst>
        </pc:cxnChg>
        <pc:cxnChg chg="add del">
          <ac:chgData name="Jaladhi Mehta" userId="09dbf198-c652-479e-8ad2-cbca5678e10c" providerId="ADAL" clId="{CD98893D-6E01-437B-B8D6-6888F04089FD}" dt="2017-12-11T20:12:38.502" v="3714" actId="6549"/>
          <ac:cxnSpMkLst>
            <pc:docMk/>
            <pc:sldMk cId="3099451878" sldId="437"/>
            <ac:cxnSpMk id="118" creationId="{38C442F6-B1AD-48CD-91EE-90608A67C00F}"/>
          </ac:cxnSpMkLst>
        </pc:cxnChg>
        <pc:cxnChg chg="add del">
          <ac:chgData name="Jaladhi Mehta" userId="09dbf198-c652-479e-8ad2-cbca5678e10c" providerId="ADAL" clId="{CD98893D-6E01-437B-B8D6-6888F04089FD}" dt="2017-12-11T20:12:38.502" v="3714" actId="6549"/>
          <ac:cxnSpMkLst>
            <pc:docMk/>
            <pc:sldMk cId="3099451878" sldId="437"/>
            <ac:cxnSpMk id="119" creationId="{45FE0778-77BE-45BF-9A2B-A13E324FE987}"/>
          </ac:cxnSpMkLst>
        </pc:cxnChg>
        <pc:cxnChg chg="add del">
          <ac:chgData name="Jaladhi Mehta" userId="09dbf198-c652-479e-8ad2-cbca5678e10c" providerId="ADAL" clId="{CD98893D-6E01-437B-B8D6-6888F04089FD}" dt="2017-12-11T20:12:38.502" v="3714" actId="6549"/>
          <ac:cxnSpMkLst>
            <pc:docMk/>
            <pc:sldMk cId="3099451878" sldId="437"/>
            <ac:cxnSpMk id="146" creationId="{DBD103DE-25F5-4B0F-A56D-A496E34557FB}"/>
          </ac:cxnSpMkLst>
        </pc:cxnChg>
        <pc:cxnChg chg="add del">
          <ac:chgData name="Jaladhi Mehta" userId="09dbf198-c652-479e-8ad2-cbca5678e10c" providerId="ADAL" clId="{CD98893D-6E01-437B-B8D6-6888F04089FD}" dt="2017-12-11T20:12:38.502" v="3714" actId="6549"/>
          <ac:cxnSpMkLst>
            <pc:docMk/>
            <pc:sldMk cId="3099451878" sldId="437"/>
            <ac:cxnSpMk id="147" creationId="{4FFC0260-9FB1-4221-9F85-87678D3D192A}"/>
          </ac:cxnSpMkLst>
        </pc:cxnChg>
        <pc:cxnChg chg="add del">
          <ac:chgData name="Jaladhi Mehta" userId="09dbf198-c652-479e-8ad2-cbca5678e10c" providerId="ADAL" clId="{CD98893D-6E01-437B-B8D6-6888F04089FD}" dt="2017-12-11T20:12:38.502" v="3714" actId="6549"/>
          <ac:cxnSpMkLst>
            <pc:docMk/>
            <pc:sldMk cId="3099451878" sldId="437"/>
            <ac:cxnSpMk id="148" creationId="{F5804FE8-DBDE-4408-AE9F-42DB65578715}"/>
          </ac:cxnSpMkLst>
        </pc:cxnChg>
        <pc:cxnChg chg="add del">
          <ac:chgData name="Jaladhi Mehta" userId="09dbf198-c652-479e-8ad2-cbca5678e10c" providerId="ADAL" clId="{CD98893D-6E01-437B-B8D6-6888F04089FD}" dt="2017-12-11T20:12:38.502" v="3714" actId="6549"/>
          <ac:cxnSpMkLst>
            <pc:docMk/>
            <pc:sldMk cId="3099451878" sldId="437"/>
            <ac:cxnSpMk id="149" creationId="{8345D22C-29D9-40B0-A7D9-EB21F9302F09}"/>
          </ac:cxnSpMkLst>
        </pc:cxnChg>
        <pc:cxnChg chg="add del">
          <ac:chgData name="Jaladhi Mehta" userId="09dbf198-c652-479e-8ad2-cbca5678e10c" providerId="ADAL" clId="{CD98893D-6E01-437B-B8D6-6888F04089FD}" dt="2017-12-11T20:13:13.306" v="3719" actId="6549"/>
          <ac:cxnSpMkLst>
            <pc:docMk/>
            <pc:sldMk cId="3099451878" sldId="437"/>
            <ac:cxnSpMk id="195" creationId="{B629F9BC-9A3A-4F89-89D8-D397DC5E7286}"/>
          </ac:cxnSpMkLst>
        </pc:cxnChg>
        <pc:cxnChg chg="add del">
          <ac:chgData name="Jaladhi Mehta" userId="09dbf198-c652-479e-8ad2-cbca5678e10c" providerId="ADAL" clId="{CD98893D-6E01-437B-B8D6-6888F04089FD}" dt="2017-12-11T20:13:13.306" v="3719" actId="6549"/>
          <ac:cxnSpMkLst>
            <pc:docMk/>
            <pc:sldMk cId="3099451878" sldId="437"/>
            <ac:cxnSpMk id="196" creationId="{4D3C561A-D595-443A-914D-B275A8DF4572}"/>
          </ac:cxnSpMkLst>
        </pc:cxnChg>
        <pc:cxnChg chg="add del">
          <ac:chgData name="Jaladhi Mehta" userId="09dbf198-c652-479e-8ad2-cbca5678e10c" providerId="ADAL" clId="{CD98893D-6E01-437B-B8D6-6888F04089FD}" dt="2017-12-11T20:13:13.306" v="3719" actId="6549"/>
          <ac:cxnSpMkLst>
            <pc:docMk/>
            <pc:sldMk cId="3099451878" sldId="437"/>
            <ac:cxnSpMk id="197" creationId="{F655477A-923A-4D52-9A5F-72A646713CB4}"/>
          </ac:cxnSpMkLst>
        </pc:cxnChg>
        <pc:cxnChg chg="add del">
          <ac:chgData name="Jaladhi Mehta" userId="09dbf198-c652-479e-8ad2-cbca5678e10c" providerId="ADAL" clId="{CD98893D-6E01-437B-B8D6-6888F04089FD}" dt="2017-12-11T20:13:13.306" v="3719" actId="6549"/>
          <ac:cxnSpMkLst>
            <pc:docMk/>
            <pc:sldMk cId="3099451878" sldId="437"/>
            <ac:cxnSpMk id="198" creationId="{573DF981-0873-4245-86CF-55B911BE884C}"/>
          </ac:cxnSpMkLst>
        </pc:cxnChg>
        <pc:cxnChg chg="add del">
          <ac:chgData name="Jaladhi Mehta" userId="09dbf198-c652-479e-8ad2-cbca5678e10c" providerId="ADAL" clId="{CD98893D-6E01-437B-B8D6-6888F04089FD}" dt="2017-12-11T20:13:13.306" v="3719" actId="6549"/>
          <ac:cxnSpMkLst>
            <pc:docMk/>
            <pc:sldMk cId="3099451878" sldId="437"/>
            <ac:cxnSpMk id="225" creationId="{80BEFAFC-B84F-42B6-909E-D0FEB722DD62}"/>
          </ac:cxnSpMkLst>
        </pc:cxnChg>
        <pc:cxnChg chg="add del">
          <ac:chgData name="Jaladhi Mehta" userId="09dbf198-c652-479e-8ad2-cbca5678e10c" providerId="ADAL" clId="{CD98893D-6E01-437B-B8D6-6888F04089FD}" dt="2017-12-11T20:13:13.306" v="3719" actId="6549"/>
          <ac:cxnSpMkLst>
            <pc:docMk/>
            <pc:sldMk cId="3099451878" sldId="437"/>
            <ac:cxnSpMk id="226" creationId="{C5657955-53E9-436D-A1AC-A39515FE51FE}"/>
          </ac:cxnSpMkLst>
        </pc:cxnChg>
        <pc:cxnChg chg="add del">
          <ac:chgData name="Jaladhi Mehta" userId="09dbf198-c652-479e-8ad2-cbca5678e10c" providerId="ADAL" clId="{CD98893D-6E01-437B-B8D6-6888F04089FD}" dt="2017-12-11T20:13:13.306" v="3719" actId="6549"/>
          <ac:cxnSpMkLst>
            <pc:docMk/>
            <pc:sldMk cId="3099451878" sldId="437"/>
            <ac:cxnSpMk id="227" creationId="{A3F7E25C-8CB3-4E92-B65D-EC875D83B2D2}"/>
          </ac:cxnSpMkLst>
        </pc:cxnChg>
        <pc:cxnChg chg="add del">
          <ac:chgData name="Jaladhi Mehta" userId="09dbf198-c652-479e-8ad2-cbca5678e10c" providerId="ADAL" clId="{CD98893D-6E01-437B-B8D6-6888F04089FD}" dt="2017-12-11T20:13:13.306" v="3719" actId="6549"/>
          <ac:cxnSpMkLst>
            <pc:docMk/>
            <pc:sldMk cId="3099451878" sldId="437"/>
            <ac:cxnSpMk id="228" creationId="{24DB6E4B-1CD4-463A-A6A2-7070919132B2}"/>
          </ac:cxnSpMkLst>
        </pc:cxnChg>
        <pc:cxnChg chg="add">
          <ac:chgData name="Jaladhi Mehta" userId="09dbf198-c652-479e-8ad2-cbca5678e10c" providerId="ADAL" clId="{CD98893D-6E01-437B-B8D6-6888F04089FD}" dt="2017-12-11T20:13:13.576" v="3720" actId="6549"/>
          <ac:cxnSpMkLst>
            <pc:docMk/>
            <pc:sldMk cId="3099451878" sldId="437"/>
            <ac:cxnSpMk id="276" creationId="{1CFFE5F4-E927-4401-8E5C-360787520341}"/>
          </ac:cxnSpMkLst>
        </pc:cxnChg>
        <pc:cxnChg chg="add">
          <ac:chgData name="Jaladhi Mehta" userId="09dbf198-c652-479e-8ad2-cbca5678e10c" providerId="ADAL" clId="{CD98893D-6E01-437B-B8D6-6888F04089FD}" dt="2017-12-11T20:13:13.576" v="3720" actId="6549"/>
          <ac:cxnSpMkLst>
            <pc:docMk/>
            <pc:sldMk cId="3099451878" sldId="437"/>
            <ac:cxnSpMk id="277" creationId="{46376973-AED6-401C-9717-020D5165417B}"/>
          </ac:cxnSpMkLst>
        </pc:cxnChg>
        <pc:cxnChg chg="add">
          <ac:chgData name="Jaladhi Mehta" userId="09dbf198-c652-479e-8ad2-cbca5678e10c" providerId="ADAL" clId="{CD98893D-6E01-437B-B8D6-6888F04089FD}" dt="2017-12-11T20:13:13.576" v="3720" actId="6549"/>
          <ac:cxnSpMkLst>
            <pc:docMk/>
            <pc:sldMk cId="3099451878" sldId="437"/>
            <ac:cxnSpMk id="278" creationId="{0889436D-C8D7-40E1-B677-7EAC32DABD4E}"/>
          </ac:cxnSpMkLst>
        </pc:cxnChg>
        <pc:cxnChg chg="add">
          <ac:chgData name="Jaladhi Mehta" userId="09dbf198-c652-479e-8ad2-cbca5678e10c" providerId="ADAL" clId="{CD98893D-6E01-437B-B8D6-6888F04089FD}" dt="2017-12-11T20:13:13.576" v="3720" actId="6549"/>
          <ac:cxnSpMkLst>
            <pc:docMk/>
            <pc:sldMk cId="3099451878" sldId="437"/>
            <ac:cxnSpMk id="279" creationId="{41EDFA50-BDA4-41EE-9CC3-2BD5F9DBFBAB}"/>
          </ac:cxnSpMkLst>
        </pc:cxnChg>
        <pc:cxnChg chg="add">
          <ac:chgData name="Jaladhi Mehta" userId="09dbf198-c652-479e-8ad2-cbca5678e10c" providerId="ADAL" clId="{CD98893D-6E01-437B-B8D6-6888F04089FD}" dt="2017-12-11T20:13:13.576" v="3720" actId="6549"/>
          <ac:cxnSpMkLst>
            <pc:docMk/>
            <pc:sldMk cId="3099451878" sldId="437"/>
            <ac:cxnSpMk id="306" creationId="{F5567636-3CC4-4F09-826C-08C21BE1599A}"/>
          </ac:cxnSpMkLst>
        </pc:cxnChg>
        <pc:cxnChg chg="add">
          <ac:chgData name="Jaladhi Mehta" userId="09dbf198-c652-479e-8ad2-cbca5678e10c" providerId="ADAL" clId="{CD98893D-6E01-437B-B8D6-6888F04089FD}" dt="2017-12-11T20:13:13.576" v="3720" actId="6549"/>
          <ac:cxnSpMkLst>
            <pc:docMk/>
            <pc:sldMk cId="3099451878" sldId="437"/>
            <ac:cxnSpMk id="307" creationId="{65B99676-07A5-4879-B870-07A88D32E173}"/>
          </ac:cxnSpMkLst>
        </pc:cxnChg>
        <pc:cxnChg chg="add">
          <ac:chgData name="Jaladhi Mehta" userId="09dbf198-c652-479e-8ad2-cbca5678e10c" providerId="ADAL" clId="{CD98893D-6E01-437B-B8D6-6888F04089FD}" dt="2017-12-11T20:13:13.576" v="3720" actId="6549"/>
          <ac:cxnSpMkLst>
            <pc:docMk/>
            <pc:sldMk cId="3099451878" sldId="437"/>
            <ac:cxnSpMk id="308" creationId="{D16275FF-C77C-4134-B5FD-94884A74F2B0}"/>
          </ac:cxnSpMkLst>
        </pc:cxnChg>
        <pc:cxnChg chg="add">
          <ac:chgData name="Jaladhi Mehta" userId="09dbf198-c652-479e-8ad2-cbca5678e10c" providerId="ADAL" clId="{CD98893D-6E01-437B-B8D6-6888F04089FD}" dt="2017-12-11T20:13:13.576" v="3720" actId="6549"/>
          <ac:cxnSpMkLst>
            <pc:docMk/>
            <pc:sldMk cId="3099451878" sldId="437"/>
            <ac:cxnSpMk id="309" creationId="{3D9CCC60-0B99-4DC9-8BD5-8DEF79F78FCC}"/>
          </ac:cxnSpMkLst>
        </pc:cxnChg>
      </pc:sldChg>
      <pc:sldChg chg="addSp delSp modSp add">
        <pc:chgData name="Jaladhi Mehta" userId="09dbf198-c652-479e-8ad2-cbca5678e10c" providerId="ADAL" clId="{CD98893D-6E01-437B-B8D6-6888F04089FD}" dt="2017-12-11T20:27:26.462" v="3746" actId="478"/>
        <pc:sldMkLst>
          <pc:docMk/>
          <pc:sldMk cId="2289031280" sldId="438"/>
        </pc:sldMkLst>
        <pc:spChg chg="mod">
          <ac:chgData name="Jaladhi Mehta" userId="09dbf198-c652-479e-8ad2-cbca5678e10c" providerId="ADAL" clId="{CD98893D-6E01-437B-B8D6-6888F04089FD}" dt="2017-12-11T20:27:18.493" v="3745" actId="20577"/>
          <ac:spMkLst>
            <pc:docMk/>
            <pc:sldMk cId="2289031280" sldId="438"/>
            <ac:spMk id="2" creationId="{9A1A18EF-D987-463A-B978-9965F0FC8EF3}"/>
          </ac:spMkLst>
        </pc:spChg>
        <pc:spChg chg="del">
          <ac:chgData name="Jaladhi Mehta" userId="09dbf198-c652-479e-8ad2-cbca5678e10c" providerId="ADAL" clId="{CD98893D-6E01-437B-B8D6-6888F04089FD}" dt="2017-12-11T20:27:26.462" v="3746" actId="478"/>
          <ac:spMkLst>
            <pc:docMk/>
            <pc:sldMk cId="2289031280" sldId="438"/>
            <ac:spMk id="3" creationId="{2EA53CDB-548D-49D4-A023-E59593DCB8BB}"/>
          </ac:spMkLst>
        </pc:spChg>
        <pc:spChg chg="add del">
          <ac:chgData name="Jaladhi Mehta" userId="09dbf198-c652-479e-8ad2-cbca5678e10c" providerId="ADAL" clId="{CD98893D-6E01-437B-B8D6-6888F04089FD}" dt="2017-12-11T20:26:40.317" v="3725" actId="478"/>
          <ac:spMkLst>
            <pc:docMk/>
            <pc:sldMk cId="2289031280" sldId="438"/>
            <ac:spMk id="4" creationId="{9800B40D-C06D-4DC4-B351-BAEA6AD0EE8E}"/>
          </ac:spMkLst>
        </pc:spChg>
        <pc:spChg chg="add del">
          <ac:chgData name="Jaladhi Mehta" userId="09dbf198-c652-479e-8ad2-cbca5678e10c" providerId="ADAL" clId="{CD98893D-6E01-437B-B8D6-6888F04089FD}" dt="2017-12-11T20:26:40.317" v="3725" actId="478"/>
          <ac:spMkLst>
            <pc:docMk/>
            <pc:sldMk cId="2289031280" sldId="438"/>
            <ac:spMk id="5" creationId="{A8072B50-081B-4D21-BD56-993CBF723762}"/>
          </ac:spMkLst>
        </pc:spChg>
        <pc:spChg chg="add del">
          <ac:chgData name="Jaladhi Mehta" userId="09dbf198-c652-479e-8ad2-cbca5678e10c" providerId="ADAL" clId="{CD98893D-6E01-437B-B8D6-6888F04089FD}" dt="2017-12-11T20:26:40.317" v="3725" actId="478"/>
          <ac:spMkLst>
            <pc:docMk/>
            <pc:sldMk cId="2289031280" sldId="438"/>
            <ac:spMk id="6" creationId="{045AAC68-0C55-4397-A5DE-535231D46E5E}"/>
          </ac:spMkLst>
        </pc:spChg>
        <pc:spChg chg="add del">
          <ac:chgData name="Jaladhi Mehta" userId="09dbf198-c652-479e-8ad2-cbca5678e10c" providerId="ADAL" clId="{CD98893D-6E01-437B-B8D6-6888F04089FD}" dt="2017-12-11T20:26:40.317" v="3725" actId="478"/>
          <ac:spMkLst>
            <pc:docMk/>
            <pc:sldMk cId="2289031280" sldId="438"/>
            <ac:spMk id="7" creationId="{9F6845BA-4567-4589-A3E8-73254536B6E4}"/>
          </ac:spMkLst>
        </pc:spChg>
        <pc:spChg chg="add del">
          <ac:chgData name="Jaladhi Mehta" userId="09dbf198-c652-479e-8ad2-cbca5678e10c" providerId="ADAL" clId="{CD98893D-6E01-437B-B8D6-6888F04089FD}" dt="2017-12-11T20:26:40.317" v="3725" actId="478"/>
          <ac:spMkLst>
            <pc:docMk/>
            <pc:sldMk cId="2289031280" sldId="438"/>
            <ac:spMk id="8" creationId="{D786740F-B8A3-4D0A-BF47-1A5727B43FFC}"/>
          </ac:spMkLst>
        </pc:spChg>
        <pc:spChg chg="add del">
          <ac:chgData name="Jaladhi Mehta" userId="09dbf198-c652-479e-8ad2-cbca5678e10c" providerId="ADAL" clId="{CD98893D-6E01-437B-B8D6-6888F04089FD}" dt="2017-12-11T20:26:40.317" v="3725" actId="478"/>
          <ac:spMkLst>
            <pc:docMk/>
            <pc:sldMk cId="2289031280" sldId="438"/>
            <ac:spMk id="9" creationId="{9D6951A7-D2DB-47B3-AC6F-59E576B6945D}"/>
          </ac:spMkLst>
        </pc:spChg>
        <pc:spChg chg="add del">
          <ac:chgData name="Jaladhi Mehta" userId="09dbf198-c652-479e-8ad2-cbca5678e10c" providerId="ADAL" clId="{CD98893D-6E01-437B-B8D6-6888F04089FD}" dt="2017-12-11T20:26:40.317" v="3725" actId="478"/>
          <ac:spMkLst>
            <pc:docMk/>
            <pc:sldMk cId="2289031280" sldId="438"/>
            <ac:spMk id="10" creationId="{EB6EC73B-A4CC-4849-A7D1-DB287CA8262E}"/>
          </ac:spMkLst>
        </pc:spChg>
        <pc:spChg chg="add del">
          <ac:chgData name="Jaladhi Mehta" userId="09dbf198-c652-479e-8ad2-cbca5678e10c" providerId="ADAL" clId="{CD98893D-6E01-437B-B8D6-6888F04089FD}" dt="2017-12-11T20:26:40.317" v="3725" actId="478"/>
          <ac:spMkLst>
            <pc:docMk/>
            <pc:sldMk cId="2289031280" sldId="438"/>
            <ac:spMk id="56" creationId="{5C97EE73-10EE-4D45-8567-4F8425FBCDCD}"/>
          </ac:spMkLst>
        </pc:spChg>
        <pc:spChg chg="add">
          <ac:chgData name="Jaladhi Mehta" userId="09dbf198-c652-479e-8ad2-cbca5678e10c" providerId="ADAL" clId="{CD98893D-6E01-437B-B8D6-6888F04089FD}" dt="2017-12-11T20:26:40.442" v="3726" actId="478"/>
          <ac:spMkLst>
            <pc:docMk/>
            <pc:sldMk cId="2289031280" sldId="438"/>
            <ac:spMk id="70" creationId="{60CEC9CD-AF94-46AC-8583-F516C907C4FB}"/>
          </ac:spMkLst>
        </pc:spChg>
        <pc:spChg chg="add">
          <ac:chgData name="Jaladhi Mehta" userId="09dbf198-c652-479e-8ad2-cbca5678e10c" providerId="ADAL" clId="{CD98893D-6E01-437B-B8D6-6888F04089FD}" dt="2017-12-11T20:26:40.442" v="3726" actId="478"/>
          <ac:spMkLst>
            <pc:docMk/>
            <pc:sldMk cId="2289031280" sldId="438"/>
            <ac:spMk id="71" creationId="{9E11D5EA-C91D-450B-ACC7-547E30853513}"/>
          </ac:spMkLst>
        </pc:spChg>
        <pc:spChg chg="add">
          <ac:chgData name="Jaladhi Mehta" userId="09dbf198-c652-479e-8ad2-cbca5678e10c" providerId="ADAL" clId="{CD98893D-6E01-437B-B8D6-6888F04089FD}" dt="2017-12-11T20:26:40.442" v="3726" actId="478"/>
          <ac:spMkLst>
            <pc:docMk/>
            <pc:sldMk cId="2289031280" sldId="438"/>
            <ac:spMk id="72" creationId="{C4B9C42D-4BE9-4DF5-AB6A-51CBEDC07884}"/>
          </ac:spMkLst>
        </pc:spChg>
        <pc:spChg chg="add">
          <ac:chgData name="Jaladhi Mehta" userId="09dbf198-c652-479e-8ad2-cbca5678e10c" providerId="ADAL" clId="{CD98893D-6E01-437B-B8D6-6888F04089FD}" dt="2017-12-11T20:26:40.442" v="3726" actId="478"/>
          <ac:spMkLst>
            <pc:docMk/>
            <pc:sldMk cId="2289031280" sldId="438"/>
            <ac:spMk id="73" creationId="{EB1BD977-2A50-4652-9390-6A96C9946EAB}"/>
          </ac:spMkLst>
        </pc:spChg>
        <pc:spChg chg="add">
          <ac:chgData name="Jaladhi Mehta" userId="09dbf198-c652-479e-8ad2-cbca5678e10c" providerId="ADAL" clId="{CD98893D-6E01-437B-B8D6-6888F04089FD}" dt="2017-12-11T20:26:40.442" v="3726" actId="478"/>
          <ac:spMkLst>
            <pc:docMk/>
            <pc:sldMk cId="2289031280" sldId="438"/>
            <ac:spMk id="74" creationId="{3A0C0EB5-C76B-45F0-B6EC-8A6BBC3F4A9E}"/>
          </ac:spMkLst>
        </pc:spChg>
        <pc:spChg chg="add">
          <ac:chgData name="Jaladhi Mehta" userId="09dbf198-c652-479e-8ad2-cbca5678e10c" providerId="ADAL" clId="{CD98893D-6E01-437B-B8D6-6888F04089FD}" dt="2017-12-11T20:26:40.442" v="3726" actId="478"/>
          <ac:spMkLst>
            <pc:docMk/>
            <pc:sldMk cId="2289031280" sldId="438"/>
            <ac:spMk id="75" creationId="{A30AB12A-B7FE-4F6D-A053-4884907F3BA3}"/>
          </ac:spMkLst>
        </pc:spChg>
        <pc:spChg chg="add">
          <ac:chgData name="Jaladhi Mehta" userId="09dbf198-c652-479e-8ad2-cbca5678e10c" providerId="ADAL" clId="{CD98893D-6E01-437B-B8D6-6888F04089FD}" dt="2017-12-11T20:26:40.442" v="3726" actId="478"/>
          <ac:spMkLst>
            <pc:docMk/>
            <pc:sldMk cId="2289031280" sldId="438"/>
            <ac:spMk id="76" creationId="{07130391-F4D0-4287-B85B-2287DAED0E60}"/>
          </ac:spMkLst>
        </pc:spChg>
        <pc:spChg chg="add">
          <ac:chgData name="Jaladhi Mehta" userId="09dbf198-c652-479e-8ad2-cbca5678e10c" providerId="ADAL" clId="{CD98893D-6E01-437B-B8D6-6888F04089FD}" dt="2017-12-11T20:26:40.442" v="3726" actId="478"/>
          <ac:spMkLst>
            <pc:docMk/>
            <pc:sldMk cId="2289031280" sldId="438"/>
            <ac:spMk id="122" creationId="{280CB5C7-76C8-4798-A059-62D9C4DFBACD}"/>
          </ac:spMkLst>
        </pc:spChg>
        <pc:grpChg chg="add del">
          <ac:chgData name="Jaladhi Mehta" userId="09dbf198-c652-479e-8ad2-cbca5678e10c" providerId="ADAL" clId="{CD98893D-6E01-437B-B8D6-6888F04089FD}" dt="2017-12-11T20:26:40.317" v="3725" actId="478"/>
          <ac:grpSpMkLst>
            <pc:docMk/>
            <pc:sldMk cId="2289031280" sldId="438"/>
            <ac:grpSpMk id="11" creationId="{770F0DC3-E02C-46E0-BED0-31A028718684}"/>
          </ac:grpSpMkLst>
        </pc:grpChg>
        <pc:grpChg chg="add del">
          <ac:chgData name="Jaladhi Mehta" userId="09dbf198-c652-479e-8ad2-cbca5678e10c" providerId="ADAL" clId="{CD98893D-6E01-437B-B8D6-6888F04089FD}" dt="2017-12-11T20:26:40.317" v="3725" actId="478"/>
          <ac:grpSpMkLst>
            <pc:docMk/>
            <pc:sldMk cId="2289031280" sldId="438"/>
            <ac:grpSpMk id="58" creationId="{ABC79D3C-607C-4919-9DED-C85286A597C4}"/>
          </ac:grpSpMkLst>
        </pc:grpChg>
        <pc:grpChg chg="add del">
          <ac:chgData name="Jaladhi Mehta" userId="09dbf198-c652-479e-8ad2-cbca5678e10c" providerId="ADAL" clId="{CD98893D-6E01-437B-B8D6-6888F04089FD}" dt="2017-12-11T20:26:40.317" v="3725" actId="478"/>
          <ac:grpSpMkLst>
            <pc:docMk/>
            <pc:sldMk cId="2289031280" sldId="438"/>
            <ac:grpSpMk id="66" creationId="{6B518722-E07B-4F87-A673-A33F3DEC7AB1}"/>
          </ac:grpSpMkLst>
        </pc:grpChg>
        <pc:grpChg chg="add">
          <ac:chgData name="Jaladhi Mehta" userId="09dbf198-c652-479e-8ad2-cbca5678e10c" providerId="ADAL" clId="{CD98893D-6E01-437B-B8D6-6888F04089FD}" dt="2017-12-11T20:26:40.442" v="3726" actId="478"/>
          <ac:grpSpMkLst>
            <pc:docMk/>
            <pc:sldMk cId="2289031280" sldId="438"/>
            <ac:grpSpMk id="77" creationId="{460714D2-B914-43D9-87F1-33D34FD0B557}"/>
          </ac:grpSpMkLst>
        </pc:grpChg>
        <pc:grpChg chg="add">
          <ac:chgData name="Jaladhi Mehta" userId="09dbf198-c652-479e-8ad2-cbca5678e10c" providerId="ADAL" clId="{CD98893D-6E01-437B-B8D6-6888F04089FD}" dt="2017-12-11T20:26:40.442" v="3726" actId="478"/>
          <ac:grpSpMkLst>
            <pc:docMk/>
            <pc:sldMk cId="2289031280" sldId="438"/>
            <ac:grpSpMk id="124" creationId="{F023AB1D-56F0-4951-A56B-7501ED849A5B}"/>
          </ac:grpSpMkLst>
        </pc:grpChg>
        <pc:grpChg chg="add">
          <ac:chgData name="Jaladhi Mehta" userId="09dbf198-c652-479e-8ad2-cbca5678e10c" providerId="ADAL" clId="{CD98893D-6E01-437B-B8D6-6888F04089FD}" dt="2017-12-11T20:26:40.442" v="3726" actId="478"/>
          <ac:grpSpMkLst>
            <pc:docMk/>
            <pc:sldMk cId="2289031280" sldId="438"/>
            <ac:grpSpMk id="132" creationId="{09ED751E-6C0F-45A5-8D74-D91C04C272CA}"/>
          </ac:grpSpMkLst>
        </pc:grpChg>
        <pc:cxnChg chg="add del">
          <ac:chgData name="Jaladhi Mehta" userId="09dbf198-c652-479e-8ad2-cbca5678e10c" providerId="ADAL" clId="{CD98893D-6E01-437B-B8D6-6888F04089FD}" dt="2017-12-11T20:26:40.317" v="3725" actId="478"/>
          <ac:cxnSpMkLst>
            <pc:docMk/>
            <pc:sldMk cId="2289031280" sldId="438"/>
            <ac:cxnSpMk id="57" creationId="{31CE10E5-F82B-4B6B-9FC7-EEBBCFFAEE47}"/>
          </ac:cxnSpMkLst>
        </pc:cxnChg>
        <pc:cxnChg chg="add">
          <ac:chgData name="Jaladhi Mehta" userId="09dbf198-c652-479e-8ad2-cbca5678e10c" providerId="ADAL" clId="{CD98893D-6E01-437B-B8D6-6888F04089FD}" dt="2017-12-11T20:26:40.442" v="3726" actId="478"/>
          <ac:cxnSpMkLst>
            <pc:docMk/>
            <pc:sldMk cId="2289031280" sldId="438"/>
            <ac:cxnSpMk id="123" creationId="{249AE2B8-7B94-480D-A591-D94ED4DB21DF}"/>
          </ac:cxnSpMkLst>
        </pc:cxnChg>
      </pc:sldChg>
      <pc:sldChg chg="add del">
        <pc:chgData name="Jaladhi Mehta" userId="09dbf198-c652-479e-8ad2-cbca5678e10c" providerId="ADAL" clId="{CD98893D-6E01-437B-B8D6-6888F04089FD}" dt="2017-12-11T20:36:59.703" v="3748" actId="2696"/>
        <pc:sldMkLst>
          <pc:docMk/>
          <pc:sldMk cId="1468975812" sldId="439"/>
        </pc:sldMkLst>
      </pc:sldChg>
      <pc:sldChg chg="addSp delSp modSp add">
        <pc:chgData name="Jaladhi Mehta" userId="09dbf198-c652-479e-8ad2-cbca5678e10c" providerId="ADAL" clId="{CD98893D-6E01-437B-B8D6-6888F04089FD}" dt="2017-12-11T20:47:24.089" v="3758" actId="1076"/>
        <pc:sldMkLst>
          <pc:docMk/>
          <pc:sldMk cId="3037313178" sldId="439"/>
        </pc:sldMkLst>
        <pc:spChg chg="del">
          <ac:chgData name="Jaladhi Mehta" userId="09dbf198-c652-479e-8ad2-cbca5678e10c" providerId="ADAL" clId="{CD98893D-6E01-437B-B8D6-6888F04089FD}" dt="2017-12-11T20:46:47.359" v="3751" actId="478"/>
          <ac:spMkLst>
            <pc:docMk/>
            <pc:sldMk cId="3037313178" sldId="439"/>
            <ac:spMk id="2" creationId="{DF77C228-352E-467B-B004-10E660078A57}"/>
          </ac:spMkLst>
        </pc:spChg>
        <pc:spChg chg="del">
          <ac:chgData name="Jaladhi Mehta" userId="09dbf198-c652-479e-8ad2-cbca5678e10c" providerId="ADAL" clId="{CD98893D-6E01-437B-B8D6-6888F04089FD}" dt="2017-12-11T20:46:40.143" v="3750" actId="478"/>
          <ac:spMkLst>
            <pc:docMk/>
            <pc:sldMk cId="3037313178" sldId="439"/>
            <ac:spMk id="3" creationId="{C430480F-2F77-471E-8203-95C5B4C390BD}"/>
          </ac:spMkLst>
        </pc:spChg>
        <pc:spChg chg="add del">
          <ac:chgData name="Jaladhi Mehta" userId="09dbf198-c652-479e-8ad2-cbca5678e10c" providerId="ADAL" clId="{CD98893D-6E01-437B-B8D6-6888F04089FD}" dt="2017-12-11T20:46:53.953" v="3755" actId="1076"/>
          <ac:spMkLst>
            <pc:docMk/>
            <pc:sldMk cId="3037313178" sldId="439"/>
            <ac:spMk id="4" creationId="{CE968DEC-E13E-40B5-90C0-F424F1C3EE75}"/>
          </ac:spMkLst>
        </pc:spChg>
        <pc:spChg chg="add del">
          <ac:chgData name="Jaladhi Mehta" userId="09dbf198-c652-479e-8ad2-cbca5678e10c" providerId="ADAL" clId="{CD98893D-6E01-437B-B8D6-6888F04089FD}" dt="2017-12-11T20:46:53.953" v="3755" actId="1076"/>
          <ac:spMkLst>
            <pc:docMk/>
            <pc:sldMk cId="3037313178" sldId="439"/>
            <ac:spMk id="6" creationId="{9FA364DA-6394-475D-A49D-E946689473EC}"/>
          </ac:spMkLst>
        </pc:spChg>
        <pc:spChg chg="add">
          <ac:chgData name="Jaladhi Mehta" userId="09dbf198-c652-479e-8ad2-cbca5678e10c" providerId="ADAL" clId="{CD98893D-6E01-437B-B8D6-6888F04089FD}" dt="2017-12-11T20:46:54.034" v="3756" actId="1076"/>
          <ac:spMkLst>
            <pc:docMk/>
            <pc:sldMk cId="3037313178" sldId="439"/>
            <ac:spMk id="7" creationId="{BD9D6090-F396-4568-BE62-70077EDBCF41}"/>
          </ac:spMkLst>
        </pc:spChg>
        <pc:spChg chg="add del">
          <ac:chgData name="Jaladhi Mehta" userId="09dbf198-c652-479e-8ad2-cbca5678e10c" providerId="ADAL" clId="{CD98893D-6E01-437B-B8D6-6888F04089FD}" dt="2017-12-11T20:47:12.754" v="3757" actId="478"/>
          <ac:spMkLst>
            <pc:docMk/>
            <pc:sldMk cId="3037313178" sldId="439"/>
            <ac:spMk id="9" creationId="{B4BE1FCF-7EA8-4A91-AEB2-1EC74DCAF63C}"/>
          </ac:spMkLst>
        </pc:spChg>
        <pc:graphicFrameChg chg="add del">
          <ac:chgData name="Jaladhi Mehta" userId="09dbf198-c652-479e-8ad2-cbca5678e10c" providerId="ADAL" clId="{CD98893D-6E01-437B-B8D6-6888F04089FD}" dt="2017-12-11T20:46:53.953" v="3755" actId="1076"/>
          <ac:graphicFrameMkLst>
            <pc:docMk/>
            <pc:sldMk cId="3037313178" sldId="439"/>
            <ac:graphicFrameMk id="5" creationId="{24B41A23-D995-419A-8E1A-99E9480088A9}"/>
          </ac:graphicFrameMkLst>
        </pc:graphicFrameChg>
        <pc:graphicFrameChg chg="add mod">
          <ac:chgData name="Jaladhi Mehta" userId="09dbf198-c652-479e-8ad2-cbca5678e10c" providerId="ADAL" clId="{CD98893D-6E01-437B-B8D6-6888F04089FD}" dt="2017-12-11T20:47:24.089" v="3758" actId="1076"/>
          <ac:graphicFrameMkLst>
            <pc:docMk/>
            <pc:sldMk cId="3037313178" sldId="439"/>
            <ac:graphicFrameMk id="8" creationId="{75B3EA83-66F6-457D-9710-CE030E640CBF}"/>
          </ac:graphicFrameMkLst>
        </pc:graphicFrameChg>
      </pc:sldChg>
      <pc:sldChg chg="addSp delSp add del">
        <pc:chgData name="Jaladhi Mehta" userId="09dbf198-c652-479e-8ad2-cbca5678e10c" providerId="ADAL" clId="{CD98893D-6E01-437B-B8D6-6888F04089FD}" dt="2017-12-11T22:32:10.974" v="3768" actId="2696"/>
        <pc:sldMkLst>
          <pc:docMk/>
          <pc:sldMk cId="1777461913" sldId="440"/>
        </pc:sldMkLst>
        <pc:spChg chg="del">
          <ac:chgData name="Jaladhi Mehta" userId="09dbf198-c652-479e-8ad2-cbca5678e10c" providerId="ADAL" clId="{CD98893D-6E01-437B-B8D6-6888F04089FD}" dt="2017-12-11T22:18:00.529" v="3763" actId="478"/>
          <ac:spMkLst>
            <pc:docMk/>
            <pc:sldMk cId="1777461913" sldId="440"/>
            <ac:spMk id="2" creationId="{C093FEC4-7532-4DD2-96BF-B34F5D9E3148}"/>
          </ac:spMkLst>
        </pc:spChg>
        <pc:spChg chg="del">
          <ac:chgData name="Jaladhi Mehta" userId="09dbf198-c652-479e-8ad2-cbca5678e10c" providerId="ADAL" clId="{CD98893D-6E01-437B-B8D6-6888F04089FD}" dt="2017-12-11T22:18:03.639" v="3764" actId="478"/>
          <ac:spMkLst>
            <pc:docMk/>
            <pc:sldMk cId="1777461913" sldId="440"/>
            <ac:spMk id="3" creationId="{85159B45-A0B3-4F01-BDE1-44FBF6AED39E}"/>
          </ac:spMkLst>
        </pc:spChg>
        <pc:spChg chg="add del">
          <ac:chgData name="Jaladhi Mehta" userId="09dbf198-c652-479e-8ad2-cbca5678e10c" providerId="ADAL" clId="{CD98893D-6E01-437B-B8D6-6888F04089FD}" dt="2017-12-11T22:32:01.792" v="3766" actId="2696"/>
          <ac:spMkLst>
            <pc:docMk/>
            <pc:sldMk cId="1777461913" sldId="440"/>
            <ac:spMk id="4" creationId="{58D284B9-C264-4C62-A915-4626C5846547}"/>
          </ac:spMkLst>
        </pc:spChg>
      </pc:sldChg>
      <pc:sldChg chg="modSp add modNotesTx">
        <pc:chgData name="Jaladhi Mehta" userId="09dbf198-c652-479e-8ad2-cbca5678e10c" providerId="ADAL" clId="{CD98893D-6E01-437B-B8D6-6888F04089FD}" dt="2017-12-11T23:18:44.262" v="4306" actId="20577"/>
        <pc:sldMkLst>
          <pc:docMk/>
          <pc:sldMk cId="3746025629" sldId="441"/>
        </pc:sldMkLst>
        <pc:spChg chg="mod">
          <ac:chgData name="Jaladhi Mehta" userId="09dbf198-c652-479e-8ad2-cbca5678e10c" providerId="ADAL" clId="{CD98893D-6E01-437B-B8D6-6888F04089FD}" dt="2017-12-11T22:35:37.473" v="3852" actId="20577"/>
          <ac:spMkLst>
            <pc:docMk/>
            <pc:sldMk cId="3746025629" sldId="441"/>
            <ac:spMk id="2" creationId="{98355796-8862-4499-BB7F-9DED5083F522}"/>
          </ac:spMkLst>
        </pc:spChg>
        <pc:spChg chg="mod">
          <ac:chgData name="Jaladhi Mehta" userId="09dbf198-c652-479e-8ad2-cbca5678e10c" providerId="ADAL" clId="{CD98893D-6E01-437B-B8D6-6888F04089FD}" dt="2017-12-11T22:35:02.564" v="3837" actId="14100"/>
          <ac:spMkLst>
            <pc:docMk/>
            <pc:sldMk cId="3746025629" sldId="441"/>
            <ac:spMk id="3" creationId="{D6CF89D7-A69E-4D68-BBDD-89F6C297CC52}"/>
          </ac:spMkLst>
        </pc:spChg>
      </pc:sldChg>
      <pc:sldChg chg="modSp add del">
        <pc:chgData name="Jaladhi Mehta" userId="09dbf198-c652-479e-8ad2-cbca5678e10c" providerId="ADAL" clId="{CD98893D-6E01-437B-B8D6-6888F04089FD}" dt="2017-12-11T23:16:42.302" v="4244" actId="2696"/>
        <pc:sldMkLst>
          <pc:docMk/>
          <pc:sldMk cId="394543883" sldId="442"/>
        </pc:sldMkLst>
        <pc:spChg chg="mod">
          <ac:chgData name="Jaladhi Mehta" userId="09dbf198-c652-479e-8ad2-cbca5678e10c" providerId="ADAL" clId="{CD98893D-6E01-437B-B8D6-6888F04089FD}" dt="2017-12-11T23:14:49.245" v="4119" actId="5793"/>
          <ac:spMkLst>
            <pc:docMk/>
            <pc:sldMk cId="394543883" sldId="442"/>
            <ac:spMk id="2" creationId="{25A8568F-9C02-4581-A643-445211D79592}"/>
          </ac:spMkLst>
        </pc:spChg>
        <pc:spChg chg="mod">
          <ac:chgData name="Jaladhi Mehta" userId="09dbf198-c652-479e-8ad2-cbca5678e10c" providerId="ADAL" clId="{CD98893D-6E01-437B-B8D6-6888F04089FD}" dt="2017-12-11T23:16:33.132" v="4243" actId="2696"/>
          <ac:spMkLst>
            <pc:docMk/>
            <pc:sldMk cId="394543883" sldId="442"/>
            <ac:spMk id="3" creationId="{963C7CA0-180F-4D02-BED9-D8B82701CD97}"/>
          </ac:spMkLst>
        </pc:spChg>
      </pc:sldChg>
      <pc:sldChg chg="modSp add">
        <pc:chgData name="Jaladhi Mehta" userId="09dbf198-c652-479e-8ad2-cbca5678e10c" providerId="ADAL" clId="{CD98893D-6E01-437B-B8D6-6888F04089FD}" dt="2017-12-11T23:19:32.276" v="4324" actId="20577"/>
        <pc:sldMkLst>
          <pc:docMk/>
          <pc:sldMk cId="3529589274" sldId="442"/>
        </pc:sldMkLst>
        <pc:spChg chg="mod">
          <ac:chgData name="Jaladhi Mehta" userId="09dbf198-c652-479e-8ad2-cbca5678e10c" providerId="ADAL" clId="{CD98893D-6E01-437B-B8D6-6888F04089FD}" dt="2017-12-11T23:19:26.703" v="4321" actId="20577"/>
          <ac:spMkLst>
            <pc:docMk/>
            <pc:sldMk cId="3529589274" sldId="442"/>
            <ac:spMk id="2" creationId="{A738474A-6429-44E1-B6FD-32C08245183B}"/>
          </ac:spMkLst>
        </pc:spChg>
        <pc:spChg chg="mod">
          <ac:chgData name="Jaladhi Mehta" userId="09dbf198-c652-479e-8ad2-cbca5678e10c" providerId="ADAL" clId="{CD98893D-6E01-437B-B8D6-6888F04089FD}" dt="2017-12-11T23:19:32.276" v="4324" actId="20577"/>
          <ac:spMkLst>
            <pc:docMk/>
            <pc:sldMk cId="3529589274" sldId="442"/>
            <ac:spMk id="3" creationId="{DA9D4BBB-378F-4FED-969C-A6C09D2E69C0}"/>
          </ac:spMkLst>
        </pc:spChg>
      </pc:sldChg>
    </pc:docChg>
  </pc:docChgLst>
  <pc:docChgLst>
    <pc:chgData name="Jaladhi Mehta" userId="09dbf198-c652-479e-8ad2-cbca5678e10c" providerId="ADAL" clId="{0C6EDDCF-26A1-4FAA-9282-8CA3DC448BC6}"/>
    <pc:docChg chg="modSld sldOrd">
      <pc:chgData name="Jaladhi Mehta" userId="09dbf198-c652-479e-8ad2-cbca5678e10c" providerId="ADAL" clId="{0C6EDDCF-26A1-4FAA-9282-8CA3DC448BC6}" dt="2017-12-08T23:29:30.213" v="0"/>
      <pc:docMkLst>
        <pc:docMk/>
      </pc:docMkLst>
      <pc:sldChg chg="ord">
        <pc:chgData name="Jaladhi Mehta" userId="09dbf198-c652-479e-8ad2-cbca5678e10c" providerId="ADAL" clId="{0C6EDDCF-26A1-4FAA-9282-8CA3DC448BC6}" dt="2017-12-08T23:29:30.213" v="0"/>
        <pc:sldMkLst>
          <pc:docMk/>
          <pc:sldMk cId="3407995950" sldId="422"/>
        </pc:sldMkLst>
      </pc:sldChg>
    </pc:docChg>
  </pc:docChgLst>
  <pc:docChgLst>
    <pc:chgData name="Jaladhi Mehta" userId="09dbf198-c652-479e-8ad2-cbca5678e10c" providerId="ADAL" clId="{AB80D40E-1878-438D-B2E4-E3101C421A64}"/>
    <pc:docChg chg="custSel modSld">
      <pc:chgData name="Jaladhi Mehta" userId="09dbf198-c652-479e-8ad2-cbca5678e10c" providerId="ADAL" clId="{AB80D40E-1878-438D-B2E4-E3101C421A64}" dt="2017-12-12T00:59:57.535" v="6" actId="478"/>
      <pc:docMkLst>
        <pc:docMk/>
      </pc:docMkLst>
      <pc:sldChg chg="addSp delSp modSp">
        <pc:chgData name="Jaladhi Mehta" userId="09dbf198-c652-479e-8ad2-cbca5678e10c" providerId="ADAL" clId="{AB80D40E-1878-438D-B2E4-E3101C421A64}" dt="2017-12-12T00:59:57.535" v="6" actId="478"/>
        <pc:sldMkLst>
          <pc:docMk/>
          <pc:sldMk cId="3529589274" sldId="442"/>
        </pc:sldMkLst>
        <pc:spChg chg="del">
          <ac:chgData name="Jaladhi Mehta" userId="09dbf198-c652-479e-8ad2-cbca5678e10c" providerId="ADAL" clId="{AB80D40E-1878-438D-B2E4-E3101C421A64}" dt="2017-12-12T00:59:50.412" v="5" actId="478"/>
          <ac:spMkLst>
            <pc:docMk/>
            <pc:sldMk cId="3529589274" sldId="442"/>
            <ac:spMk id="2" creationId="{A738474A-6429-44E1-B6FD-32C08245183B}"/>
          </ac:spMkLst>
        </pc:spChg>
        <pc:spChg chg="del mod">
          <ac:chgData name="Jaladhi Mehta" userId="09dbf198-c652-479e-8ad2-cbca5678e10c" providerId="ADAL" clId="{AB80D40E-1878-438D-B2E4-E3101C421A64}" dt="2017-12-12T00:59:40.977" v="4" actId="478"/>
          <ac:spMkLst>
            <pc:docMk/>
            <pc:sldMk cId="3529589274" sldId="442"/>
            <ac:spMk id="3" creationId="{DA9D4BBB-378F-4FED-969C-A6C09D2E69C0}"/>
          </ac:spMkLst>
        </pc:spChg>
        <pc:spChg chg="add del mod">
          <ac:chgData name="Jaladhi Mehta" userId="09dbf198-c652-479e-8ad2-cbca5678e10c" providerId="ADAL" clId="{AB80D40E-1878-438D-B2E4-E3101C421A64}" dt="2017-12-12T00:59:57.535" v="6" actId="478"/>
          <ac:spMkLst>
            <pc:docMk/>
            <pc:sldMk cId="3529589274" sldId="442"/>
            <ac:spMk id="5" creationId="{A1F09920-2BF4-4A7F-A03A-AE46B4644C0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1" dirty="0">
              <a:solidFill>
                <a:srgbClr val="FFFF00"/>
              </a:solidFill>
            </a:rPr>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1" dirty="0">
              <a:solidFill>
                <a:srgbClr val="FFFF00"/>
              </a:solidFill>
            </a:rPr>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1" dirty="0">
              <a:solidFill>
                <a:srgbClr val="FFFF00"/>
              </a:solidFill>
            </a:rPr>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0"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b="1" dirty="0">
              <a:solidFill>
                <a:srgbClr val="FFFF00"/>
              </a:solidFill>
            </a:rPr>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814068"/>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445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ata Ingestion</a:t>
          </a:r>
        </a:p>
      </dsp:txBody>
      <dsp:txXfrm>
        <a:off x="612288" y="481094"/>
        <a:ext cx="7995623" cy="665948"/>
      </dsp:txXfrm>
    </dsp:sp>
    <dsp:sp modelId="{A33DF34A-C981-4260-A6A0-96A2D1D07D28}">
      <dsp:nvSpPr>
        <dsp:cNvPr id="0" name=""/>
        <dsp:cNvSpPr/>
      </dsp:nvSpPr>
      <dsp:spPr>
        <a:xfrm>
          <a:off x="0" y="1948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579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esign and Provision compute clusters</a:t>
          </a:r>
        </a:p>
      </dsp:txBody>
      <dsp:txXfrm>
        <a:off x="612288" y="1615094"/>
        <a:ext cx="7995623" cy="665948"/>
      </dsp:txXfrm>
    </dsp:sp>
    <dsp:sp modelId="{72D6B662-1932-47A5-9FA8-94AE9E841ECC}">
      <dsp:nvSpPr>
        <dsp:cNvPr id="0" name=""/>
        <dsp:cNvSpPr/>
      </dsp:nvSpPr>
      <dsp:spPr>
        <a:xfrm>
          <a:off x="0" y="3082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13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1" kern="1200" dirty="0">
              <a:solidFill>
                <a:srgbClr val="FFFF00"/>
              </a:solidFill>
            </a:rPr>
            <a:t>Design of Batch processing &amp; Interactive Queries</a:t>
          </a:r>
        </a:p>
      </dsp:txBody>
      <dsp:txXfrm>
        <a:off x="612288" y="2749095"/>
        <a:ext cx="7995623" cy="665948"/>
      </dsp:txXfrm>
    </dsp:sp>
    <dsp:sp modelId="{0AD4B49D-F363-4E5F-8832-8106C7E24E55}">
      <dsp:nvSpPr>
        <dsp:cNvPr id="0" name=""/>
        <dsp:cNvSpPr/>
      </dsp:nvSpPr>
      <dsp:spPr>
        <a:xfrm>
          <a:off x="0" y="4216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3847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kern="1200" dirty="0"/>
            <a:t>Design for Security</a:t>
          </a:r>
        </a:p>
      </dsp:txBody>
      <dsp:txXfrm>
        <a:off x="612288" y="3883095"/>
        <a:ext cx="7995623"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for Security</a:t>
          </a:r>
        </a:p>
      </dsp:txBody>
      <dsp:txXfrm>
        <a:off x="618052" y="4081099"/>
        <a:ext cx="7984095" cy="77250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11/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dirty="0"/>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11/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dirty="0"/>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8689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0</a:t>
            </a:fld>
            <a:endParaRPr lang="en-US" dirty="0"/>
          </a:p>
        </p:txBody>
      </p:sp>
    </p:spTree>
    <p:extLst>
      <p:ext uri="{BB962C8B-B14F-4D97-AF65-F5344CB8AC3E}">
        <p14:creationId xmlns:p14="http://schemas.microsoft.com/office/powerpoint/2010/main" val="2770899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dirty="0"/>
          </a:p>
        </p:txBody>
      </p:sp>
    </p:spTree>
    <p:extLst>
      <p:ext uri="{BB962C8B-B14F-4D97-AF65-F5344CB8AC3E}">
        <p14:creationId xmlns:p14="http://schemas.microsoft.com/office/powerpoint/2010/main" val="492606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dirty="0"/>
          </a:p>
        </p:txBody>
      </p:sp>
    </p:spTree>
    <p:extLst>
      <p:ext uri="{BB962C8B-B14F-4D97-AF65-F5344CB8AC3E}">
        <p14:creationId xmlns:p14="http://schemas.microsoft.com/office/powerpoint/2010/main" val="2875558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3</a:t>
            </a:fld>
            <a:endParaRPr lang="en-US" dirty="0"/>
          </a:p>
        </p:txBody>
      </p:sp>
    </p:spTree>
    <p:extLst>
      <p:ext uri="{BB962C8B-B14F-4D97-AF65-F5344CB8AC3E}">
        <p14:creationId xmlns:p14="http://schemas.microsoft.com/office/powerpoint/2010/main" val="33824962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dirty="0"/>
          </a:p>
        </p:txBody>
      </p:sp>
    </p:spTree>
    <p:extLst>
      <p:ext uri="{BB962C8B-B14F-4D97-AF65-F5344CB8AC3E}">
        <p14:creationId xmlns:p14="http://schemas.microsoft.com/office/powerpoint/2010/main" val="992364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dirty="0"/>
          </a:p>
        </p:txBody>
      </p:sp>
    </p:spTree>
    <p:extLst>
      <p:ext uri="{BB962C8B-B14F-4D97-AF65-F5344CB8AC3E}">
        <p14:creationId xmlns:p14="http://schemas.microsoft.com/office/powerpoint/2010/main" val="11073691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dirty="0"/>
          </a:p>
        </p:txBody>
      </p:sp>
    </p:spTree>
    <p:extLst>
      <p:ext uri="{BB962C8B-B14F-4D97-AF65-F5344CB8AC3E}">
        <p14:creationId xmlns:p14="http://schemas.microsoft.com/office/powerpoint/2010/main" val="34956062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b Storage stores unstructured object data. A blob can be any type of text or binary data, such as a document, media file, or application installer. Blob storage is also referred to as Object storage.</a:t>
            </a:r>
          </a:p>
          <a:p>
            <a:pPr defTabSz="856869" fontAlgn="base">
              <a:spcBef>
                <a:spcPct val="0"/>
              </a:spcBef>
              <a:spcAft>
                <a:spcPct val="0"/>
              </a:spcAft>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 Page Blobs: Random-write pattern data</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ble Storage stores structured datasets. Table storage is a NoSQL key-attribute data store, which allows for rapid development and fast access to large quantities of data. </a:t>
            </a:r>
            <a:r>
              <a:rPr lang="en-US" sz="1200"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r>
              <a:rPr lang="en-US" sz="1200" baseline="0" dirty="0">
                <a:gradFill>
                  <a:gsLst>
                    <a:gs pos="0">
                      <a:srgbClr val="FFFFFF"/>
                    </a:gs>
                    <a:gs pos="100000">
                      <a:srgbClr val="FFFFFF"/>
                    </a:gs>
                  </a:gsLst>
                  <a:lin ang="5400000" scaled="0"/>
                </a:gradFill>
                <a:latin typeface="Segoe UI"/>
                <a:ea typeface="Segoe UI" pitchFamily="34" charset="0"/>
                <a:cs typeface="Segoe UI" pitchFamily="34" charset="0"/>
              </a:rPr>
              <a:t> Stores PB of table data</a:t>
            </a:r>
            <a:endParaRPr lang="en-US" dirty="0"/>
          </a:p>
          <a:p>
            <a:r>
              <a:rPr lang="en-US" dirty="0"/>
              <a:t>Queue Storage provides reliable messaging for workflow processing and for communication between components of cloud services.</a:t>
            </a:r>
          </a:p>
          <a:p>
            <a:pPr defTabSz="856869" fontAlgn="base">
              <a:spcBef>
                <a:spcPct val="0"/>
              </a:spcBef>
              <a:spcAft>
                <a:spcPct val="0"/>
              </a:spcAft>
            </a:pPr>
            <a:r>
              <a:rPr lang="en-US" sz="1200" dirty="0">
                <a:solidFill>
                  <a:srgbClr val="FFFFFF"/>
                </a:solidFill>
                <a:latin typeface="Segoe UI"/>
                <a:ea typeface="Segoe UI" pitchFamily="34" charset="0"/>
                <a:cs typeface="Segoe UI" pitchFamily="34" charset="0"/>
              </a:rPr>
              <a:t>Decouple and scale components Message visibility timeout and update message to protect against unreliable dequeuer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le Storage offers shared storage for legacy applications using the standard SMB protocol. Azure virtual machines and cloud services can share file data across application components via mounted shares, and on-premises applications can access file data in a share via the File service REST API. </a:t>
            </a:r>
            <a:r>
              <a:rPr lang="en-US" sz="1200"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6313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RS protects your data from normal hardware failures, but not from the failure of a single facil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ZRS</a:t>
            </a:r>
            <a:r>
              <a:rPr lang="en-IN" baseline="0" dirty="0"/>
              <a:t> </a:t>
            </a:r>
            <a:r>
              <a:rPr lang="en-US" dirty="0"/>
              <a:t>provides higher durability than LRS. ZRS ensures that your data is durable within a single region. </a:t>
            </a:r>
          </a:p>
          <a:p>
            <a:r>
              <a:rPr lang="en-IN" dirty="0"/>
              <a:t>GRS </a:t>
            </a:r>
            <a:r>
              <a:rPr lang="en-US" dirty="0"/>
              <a:t>provides the highest level of durability</a:t>
            </a:r>
          </a:p>
          <a:p>
            <a:r>
              <a:rPr lang="en-US" dirty="0"/>
              <a:t>RA-GRS Read access geo-redundant storage is enabled for your storage account by default when you create it., and also provides read access to your data in the secondary location.</a:t>
            </a:r>
          </a:p>
          <a:p>
            <a:endParaRPr lang="en-US" dirty="0"/>
          </a:p>
          <a:p>
            <a:r>
              <a:rPr lang="en-US" sz="1200" b="0" i="0" kern="1200" dirty="0">
                <a:solidFill>
                  <a:schemeClr val="tx1"/>
                </a:solidFill>
                <a:effectLst/>
                <a:latin typeface="+mn-lt"/>
                <a:ea typeface="+mn-ea"/>
                <a:cs typeface="+mn-cs"/>
              </a:rPr>
              <a:t>These three replicas each reside in separate fault domains and upgrade domains within one storage scale unit.</a:t>
            </a:r>
            <a:br>
              <a:rPr lang="en-US" dirty="0"/>
            </a:br>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4754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t on top of HDFS</a:t>
            </a:r>
          </a:p>
          <a:p>
            <a:r>
              <a:rPr lang="en-US" dirty="0"/>
              <a:t>Seamlessly scale from a few KBs to several PBs</a:t>
            </a:r>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dirty="0"/>
          </a:p>
        </p:txBody>
      </p:sp>
    </p:spTree>
    <p:extLst>
      <p:ext uri="{BB962C8B-B14F-4D97-AF65-F5344CB8AC3E}">
        <p14:creationId xmlns:p14="http://schemas.microsoft.com/office/powerpoint/2010/main" val="3270168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dirty="0"/>
              <a:t>When we talk about batch processing, we refer to the process where historical</a:t>
            </a:r>
            <a:r>
              <a:rPr lang="en-US" baseline="0" dirty="0"/>
              <a:t> </a:t>
            </a:r>
            <a:r>
              <a:rPr lang="en-US" dirty="0"/>
              <a:t>data is collected, entered to the system, processed and then results are produced in batches</a:t>
            </a:r>
          </a:p>
          <a:p>
            <a:r>
              <a:rPr lang="en-US" dirty="0"/>
              <a:t>Easy</a:t>
            </a:r>
            <a:r>
              <a:rPr lang="en-US" baseline="0" dirty="0"/>
              <a:t> to program as parallelization is not to be taken care in the program but using cluster of compute nodes</a:t>
            </a:r>
            <a:endParaRPr lang="en-US" dirty="0"/>
          </a:p>
          <a:p>
            <a:r>
              <a:rPr lang="en-US" dirty="0"/>
              <a:t>Batch jobs are configured to run without manual intervention, trained against entire dataset at scale in order to produce output in the form of computational analyses and data files. </a:t>
            </a:r>
          </a:p>
          <a:p>
            <a:r>
              <a:rPr lang="en-US" dirty="0"/>
              <a:t>Depending on the size of the data being processed and the computational power of the system, output can be delayed significantly.</a:t>
            </a:r>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6733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dirty="0"/>
          </a:p>
        </p:txBody>
      </p:sp>
    </p:spTree>
    <p:extLst>
      <p:ext uri="{BB962C8B-B14F-4D97-AF65-F5344CB8AC3E}">
        <p14:creationId xmlns:p14="http://schemas.microsoft.com/office/powerpoint/2010/main" val="41684341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ORC for example already has 256MB blocks per default because it normally can skip a lot of data internally. </a:t>
            </a:r>
          </a:p>
          <a:p>
            <a:pPr lvl="0"/>
            <a:r>
              <a:rPr lang="en-US" dirty="0"/>
              <a:t>On the other hand if you run heavy analytic tasks on smaller data (like data mining) </a:t>
            </a:r>
          </a:p>
          <a:p>
            <a:pPr lvl="0"/>
            <a:r>
              <a:rPr lang="en-US" dirty="0"/>
              <a:t>a smaller block size might be better because your task will be heavily CPU bound and a single block could take a long time. </a:t>
            </a:r>
          </a:p>
          <a:p>
            <a:pPr lvl="0"/>
            <a:r>
              <a:rPr lang="en-US" dirty="0"/>
              <a:t>So the answer as usually is:</a:t>
            </a:r>
          </a:p>
          <a:p>
            <a:pPr lvl="0"/>
            <a:r>
              <a:rPr lang="en-US" dirty="0"/>
              <a:t>It depends and you have to try it out for yourself what works in your specific scenario. </a:t>
            </a:r>
          </a:p>
          <a:p>
            <a:pPr lvl="0"/>
            <a:r>
              <a:rPr lang="en-US" dirty="0"/>
              <a:t>128MB is a good default but 256MB might work as well. </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480799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creasing replication to 4 or more only makes sense in DR situations, where you want, say, 2 copies at each of two sites, but then you should be using Falcon or similar to maintain the DR copies, not HDFS replication. On the other hand, replication = 2 definitely leaves your data vulnerable to "it can't happen to me" scenarios -- it only takes the wrong two disk drives to fail at the same time, and at some point they will. So decreasing replication below 3 only makes sense if it is low value data or you're using RAID or other highly reliable storage to protect your data.</a:t>
            </a:r>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918934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echanisms can vary depending on the nature of your workload and the frequency of data</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dirty="0"/>
          </a:p>
        </p:txBody>
      </p:sp>
    </p:spTree>
    <p:extLst>
      <p:ext uri="{BB962C8B-B14F-4D97-AF65-F5344CB8AC3E}">
        <p14:creationId xmlns:p14="http://schemas.microsoft.com/office/powerpoint/2010/main" val="38162709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I-based Tools</a:t>
            </a:r>
          </a:p>
          <a:p>
            <a:r>
              <a:rPr lang="en-US" dirty="0"/>
              <a:t>Cloudberry Explorer, Storage Explorer</a:t>
            </a:r>
          </a:p>
          <a:p>
            <a:r>
              <a:rPr lang="en-US" dirty="0"/>
              <a:t>Code Supplier tool</a:t>
            </a:r>
          </a:p>
          <a:p>
            <a:r>
              <a:rPr lang="en-US" dirty="0" err="1"/>
              <a:t>Gzip</a:t>
            </a:r>
            <a:r>
              <a:rPr lang="en-US" dirty="0"/>
              <a:t> and BZip2</a:t>
            </a:r>
          </a:p>
          <a:p>
            <a:r>
              <a:rPr lang="en-US" dirty="0" err="1"/>
              <a:t>Powershell</a:t>
            </a:r>
            <a:r>
              <a:rPr lang="en-US" dirty="0"/>
              <a:t> Commands</a:t>
            </a:r>
          </a:p>
          <a:p>
            <a:r>
              <a:rPr lang="en-US" dirty="0"/>
              <a:t>Take Advantage of </a:t>
            </a:r>
            <a:r>
              <a:rPr lang="en-US" dirty="0" err="1"/>
              <a:t>Powershell</a:t>
            </a:r>
            <a:r>
              <a:rPr lang="en-US" dirty="0"/>
              <a:t> cmdlets</a:t>
            </a:r>
          </a:p>
          <a:p>
            <a:r>
              <a:rPr lang="en-US" dirty="0"/>
              <a:t>The Hadoop </a:t>
            </a:r>
            <a:r>
              <a:rPr lang="en-US" dirty="0" err="1"/>
              <a:t>dfs</a:t>
            </a:r>
            <a:endParaRPr lang="en-US" dirty="0"/>
          </a:p>
          <a:p>
            <a:r>
              <a:rPr lang="en-US" dirty="0" err="1"/>
              <a:t>copyFromLocal</a:t>
            </a:r>
            <a:r>
              <a:rPr lang="en-US" dirty="0"/>
              <a:t> [source] [destination] command</a:t>
            </a:r>
          </a:p>
          <a:p>
            <a:r>
              <a:rPr lang="en-US" dirty="0"/>
              <a:t>Command line tool</a:t>
            </a:r>
          </a:p>
          <a:p>
            <a:r>
              <a:rPr lang="en-US" dirty="0" err="1"/>
              <a:t>AzCopy</a:t>
            </a:r>
            <a:r>
              <a:rPr lang="en-US" dirty="0"/>
              <a:t> to upload large fil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961458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actory</a:t>
            </a:r>
            <a:r>
              <a:rPr lang="en-US" baseline="0" dirty="0"/>
              <a:t> - </a:t>
            </a:r>
            <a:r>
              <a:rPr lang="en-US" dirty="0"/>
              <a:t>Compose and orchestrate data services at scale. Create, schedule, orchestrate, and manage data pipelines. Visualize data lineage. Monitor data pipeline health</a:t>
            </a:r>
          </a:p>
          <a:p>
            <a:r>
              <a:rPr lang="en-IN" sz="1200" kern="0" dirty="0" err="1">
                <a:solidFill>
                  <a:srgbClr val="505050"/>
                </a:solidFill>
              </a:rPr>
              <a:t>Sqoop</a:t>
            </a:r>
            <a:r>
              <a:rPr lang="en-IN" sz="1200" kern="0" baseline="0" dirty="0">
                <a:solidFill>
                  <a:srgbClr val="505050"/>
                </a:solidFill>
              </a:rPr>
              <a:t> - </a:t>
            </a:r>
            <a:r>
              <a:rPr lang="en-IN" sz="1200" kern="0" dirty="0">
                <a:solidFill>
                  <a:srgbClr val="505050"/>
                </a:solidFill>
              </a:rPr>
              <a:t>Extract required data from a table, view, or query in the source database and save the results as a file in your cluster storag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0" dirty="0">
                <a:solidFill>
                  <a:srgbClr val="505050"/>
                </a:solidFill>
              </a:rPr>
              <a:t>Microsoft Analytics Platform System (APS) contains </a:t>
            </a:r>
            <a:r>
              <a:rPr lang="en-IN" sz="1200" kern="0" dirty="0" err="1">
                <a:solidFill>
                  <a:srgbClr val="505050"/>
                </a:solidFill>
              </a:rPr>
              <a:t>PolyBase</a:t>
            </a:r>
            <a:r>
              <a:rPr lang="en-IN" sz="1200" kern="0" dirty="0">
                <a:solidFill>
                  <a:srgbClr val="505050"/>
                </a:solidFill>
              </a:rPr>
              <a:t>, to expose a SQL-based interface for accessing data stored in Hadoop and HDInsigh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560783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dirty="0"/>
          </a:p>
        </p:txBody>
      </p:sp>
    </p:spTree>
    <p:extLst>
      <p:ext uri="{BB962C8B-B14F-4D97-AF65-F5344CB8AC3E}">
        <p14:creationId xmlns:p14="http://schemas.microsoft.com/office/powerpoint/2010/main" val="1879757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Cloud-based implementation of Hadoop</a:t>
            </a:r>
          </a:p>
          <a:p>
            <a:pPr lvl="1"/>
            <a:r>
              <a:rPr lang="en-US" dirty="0"/>
              <a:t>Available as a Microsoft Azure service managed service</a:t>
            </a:r>
          </a:p>
          <a:p>
            <a:pPr lvl="1"/>
            <a:r>
              <a:rPr lang="en-US" dirty="0"/>
              <a:t>Separate storage and compute…storage is azure blob storage or azure data lake store.</a:t>
            </a:r>
          </a:p>
          <a:p>
            <a:pPr lvl="1"/>
            <a:r>
              <a:rPr lang="en-US" dirty="0"/>
              <a:t>Flavors preloaded up and running</a:t>
            </a:r>
          </a:p>
          <a:p>
            <a:pPr lvl="1"/>
            <a:r>
              <a:rPr lang="en-US" dirty="0"/>
              <a:t>Pay as you go pricing</a:t>
            </a:r>
          </a:p>
          <a:p>
            <a:pPr lvl="1"/>
            <a:endParaRPr lang="en-US" dirty="0"/>
          </a:p>
          <a:p>
            <a:pPr lvl="1"/>
            <a:r>
              <a:rPr lang="en-US" dirty="0"/>
              <a:t>LLAP – live long and process…interactive…….in-memory caching….highly concurrent queries…</a:t>
            </a:r>
          </a:p>
          <a:p>
            <a:pPr lvl="1"/>
            <a:r>
              <a:rPr lang="en-US" dirty="0"/>
              <a:t>LLAP gives them separation of </a:t>
            </a:r>
            <a:r>
              <a:rPr lang="en-US" dirty="0" err="1"/>
              <a:t>compute..separate</a:t>
            </a:r>
            <a:r>
              <a:rPr lang="en-US" dirty="0"/>
              <a:t> cluster type for queries than the cluster type for </a:t>
            </a:r>
            <a:r>
              <a:rPr lang="en-US" dirty="0" err="1"/>
              <a:t>cimpute</a:t>
            </a:r>
            <a:r>
              <a:rPr lang="en-US" dirty="0"/>
              <a:t>.</a:t>
            </a:r>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dirty="0"/>
          </a:p>
        </p:txBody>
      </p:sp>
    </p:spTree>
    <p:extLst>
      <p:ext uri="{BB962C8B-B14F-4D97-AF65-F5344CB8AC3E}">
        <p14:creationId xmlns:p14="http://schemas.microsoft.com/office/powerpoint/2010/main" val="505358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QL DB for Hive, </a:t>
            </a:r>
            <a:r>
              <a:rPr lang="en-IN" dirty="0" err="1"/>
              <a:t>Oozie</a:t>
            </a:r>
            <a:r>
              <a:rPr lang="en-IN" dirty="0"/>
              <a:t>, Ranger</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90F7684-CECC-4566-98F8-54DC205EBE9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06394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mbari</a:t>
            </a:r>
            <a:r>
              <a:rPr lang="en-US" dirty="0"/>
              <a:t>: Cluster provisioning, management, monitoring, and utilities.</a:t>
            </a:r>
          </a:p>
          <a:p>
            <a:r>
              <a:rPr lang="en-US" dirty="0"/>
              <a:t>Avro (Microsoft .NET Library for Avro): Data serialization for the Microsoft .NET environment.</a:t>
            </a:r>
          </a:p>
          <a:p>
            <a:r>
              <a:rPr lang="en-US" dirty="0"/>
              <a:t>Hive &amp; </a:t>
            </a:r>
            <a:r>
              <a:rPr lang="en-US" dirty="0" err="1"/>
              <a:t>HCatalog</a:t>
            </a:r>
            <a:r>
              <a:rPr lang="en-US" dirty="0"/>
              <a:t>: SQL-like querying, and a table and storage management layer.</a:t>
            </a:r>
          </a:p>
          <a:p>
            <a:r>
              <a:rPr lang="en-US" dirty="0"/>
              <a:t>Mahout: For scalable machine learning applications.</a:t>
            </a:r>
          </a:p>
          <a:p>
            <a:r>
              <a:rPr lang="en-US" dirty="0"/>
              <a:t>MapReduce: Legacy framework for Hadoop distributed processing and resource management. See YARN.</a:t>
            </a:r>
          </a:p>
          <a:p>
            <a:r>
              <a:rPr lang="en-US" dirty="0" err="1"/>
              <a:t>Oozie</a:t>
            </a:r>
            <a:r>
              <a:rPr lang="en-US" dirty="0"/>
              <a:t>: Workflow management.</a:t>
            </a:r>
          </a:p>
          <a:p>
            <a:r>
              <a:rPr lang="en-US" dirty="0"/>
              <a:t>Phoenix: Relational database layer over HBase.</a:t>
            </a:r>
          </a:p>
          <a:p>
            <a:r>
              <a:rPr lang="en-US" dirty="0"/>
              <a:t>Pig: Simpler scripting for MapReduce transformations.</a:t>
            </a:r>
          </a:p>
          <a:p>
            <a:r>
              <a:rPr lang="en-US" dirty="0" err="1"/>
              <a:t>Sqoop</a:t>
            </a:r>
            <a:r>
              <a:rPr lang="en-US" dirty="0"/>
              <a:t>: Data import and export.</a:t>
            </a:r>
          </a:p>
          <a:p>
            <a:r>
              <a:rPr lang="en-US" dirty="0" err="1"/>
              <a:t>Tez</a:t>
            </a:r>
            <a:r>
              <a:rPr lang="en-US" dirty="0"/>
              <a:t>: Allows data-intensive processes to run efficiently at scale.</a:t>
            </a:r>
          </a:p>
          <a:p>
            <a:r>
              <a:rPr lang="en-US" dirty="0"/>
              <a:t>YARN: Resource management that is part of the Hadoop core library.</a:t>
            </a:r>
          </a:p>
          <a:p>
            <a:r>
              <a:rPr lang="en-US" dirty="0" err="1"/>
              <a:t>ZooKeeper</a:t>
            </a:r>
            <a:r>
              <a:rPr lang="en-US" dirty="0"/>
              <a:t>: Coordination of processes in distributed systems.</a:t>
            </a:r>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dirty="0"/>
          </a:p>
        </p:txBody>
      </p:sp>
    </p:spTree>
    <p:extLst>
      <p:ext uri="{BB962C8B-B14F-4D97-AF65-F5344CB8AC3E}">
        <p14:creationId xmlns:p14="http://schemas.microsoft.com/office/powerpoint/2010/main" val="2668646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mbda architecture is a data-processing architecture designed to handle massive quantities of data by taking advantage of both batch- and stream-processing methods.</a:t>
            </a:r>
          </a:p>
          <a:p>
            <a:r>
              <a:rPr lang="en-US" dirty="0"/>
              <a:t>Very common business scenario these days. Data arriving in large volume…some data arriving very quickly…some data needs to be looked at quickly…</a:t>
            </a:r>
          </a:p>
          <a:p>
            <a:r>
              <a:rPr lang="en-US" dirty="0"/>
              <a:t>Three layers: batch processing Or cold path, speed (or real-time) processing or the hot path , and a serving layer for responding to queries</a:t>
            </a:r>
          </a:p>
          <a:p>
            <a:r>
              <a:rPr lang="en-US" dirty="0"/>
              <a:t>Depending on the type, volume and velocity of data you end up picking the right technology for each case.</a:t>
            </a:r>
          </a:p>
        </p:txBody>
      </p:sp>
      <p:sp>
        <p:nvSpPr>
          <p:cNvPr id="4" name="Slide Number Placeholder 3"/>
          <p:cNvSpPr>
            <a:spLocks noGrp="1"/>
          </p:cNvSpPr>
          <p:nvPr>
            <p:ph type="sldNum" sz="quarter" idx="10"/>
          </p:nvPr>
        </p:nvSpPr>
        <p:spPr/>
        <p:txBody>
          <a:bodyPr/>
          <a:lstStyle/>
          <a:p>
            <a:fld id="{4CFD207A-07DF-40AD-A916-9872E089CE7A}" type="slidenum">
              <a:rPr lang="en-US" smtClean="0"/>
              <a:t>3</a:t>
            </a:fld>
            <a:endParaRPr lang="en-US" dirty="0"/>
          </a:p>
        </p:txBody>
      </p:sp>
    </p:spTree>
    <p:extLst>
      <p:ext uri="{BB962C8B-B14F-4D97-AF65-F5344CB8AC3E}">
        <p14:creationId xmlns:p14="http://schemas.microsoft.com/office/powerpoint/2010/main" val="8662482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nimum requirements for availability</a:t>
            </a:r>
          </a:p>
          <a:p>
            <a:r>
              <a:rPr lang="en-US" dirty="0"/>
              <a:t>Different cluster types with different nodes</a:t>
            </a:r>
          </a:p>
          <a:p>
            <a:r>
              <a:rPr lang="en-US" dirty="0"/>
              <a:t>Storage is decoupled from compute</a:t>
            </a:r>
          </a:p>
          <a:p>
            <a:r>
              <a:rPr lang="en-US" dirty="0"/>
              <a:t>Multiple clusters talking to the same storage…</a:t>
            </a:r>
            <a:r>
              <a:rPr lang="en-US" dirty="0" err="1"/>
              <a:t>hbase</a:t>
            </a:r>
            <a:r>
              <a:rPr lang="en-US" dirty="0"/>
              <a:t> and </a:t>
            </a:r>
            <a:r>
              <a:rPr lang="en-US" dirty="0" err="1"/>
              <a:t>kafka</a:t>
            </a:r>
            <a:r>
              <a:rPr lang="en-US" dirty="0"/>
              <a:t> clusters talking to same storage…</a:t>
            </a:r>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dirty="0"/>
          </a:p>
        </p:txBody>
      </p:sp>
    </p:spTree>
    <p:extLst>
      <p:ext uri="{BB962C8B-B14F-4D97-AF65-F5344CB8AC3E}">
        <p14:creationId xmlns:p14="http://schemas.microsoft.com/office/powerpoint/2010/main" val="9419224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2483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dirty="0"/>
          </a:p>
        </p:txBody>
      </p:sp>
    </p:spTree>
    <p:extLst>
      <p:ext uri="{BB962C8B-B14F-4D97-AF65-F5344CB8AC3E}">
        <p14:creationId xmlns:p14="http://schemas.microsoft.com/office/powerpoint/2010/main" val="28884294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3</a:t>
            </a:fld>
            <a:endParaRPr lang="en-US" dirty="0"/>
          </a:p>
        </p:txBody>
      </p:sp>
    </p:spTree>
    <p:extLst>
      <p:ext uri="{BB962C8B-B14F-4D97-AF65-F5344CB8AC3E}">
        <p14:creationId xmlns:p14="http://schemas.microsoft.com/office/powerpoint/2010/main" val="39030017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gest </a:t>
            </a:r>
            <a:r>
              <a:rPr lang="en-US" dirty="0" err="1"/>
              <a:t>dara</a:t>
            </a:r>
            <a:r>
              <a:rPr lang="en-US" dirty="0"/>
              <a:t> into </a:t>
            </a:r>
            <a:r>
              <a:rPr lang="en-US" dirty="0" err="1"/>
              <a:t>hdfs</a:t>
            </a:r>
            <a:endParaRPr lang="en-US" dirty="0"/>
          </a:p>
          <a:p>
            <a:endParaRPr lang="en-US" dirty="0"/>
          </a:p>
          <a:p>
            <a:r>
              <a:rPr lang="en-US" dirty="0"/>
              <a:t>HDI on demand – ADF may b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09523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r>
              <a:rPr lang="en-US" sz="900" u="sng" kern="1200" dirty="0">
                <a:solidFill>
                  <a:schemeClr val="tx1"/>
                </a:solidFill>
                <a:effectLst/>
                <a:latin typeface="Segoe UI Light" pitchFamily="34" charset="0"/>
                <a:ea typeface="+mn-ea"/>
                <a:cs typeface="+mn-cs"/>
                <a:hlinkClick r:id="rId3"/>
              </a:rPr>
              <a:t>Using </a:t>
            </a:r>
            <a:r>
              <a:rPr lang="en-US" sz="900" u="sng" kern="1200" dirty="0" err="1">
                <a:solidFill>
                  <a:schemeClr val="tx1"/>
                </a:solidFill>
                <a:effectLst/>
                <a:latin typeface="Segoe UI Light" pitchFamily="34" charset="0"/>
                <a:ea typeface="+mn-ea"/>
                <a:cs typeface="+mn-cs"/>
                <a:hlinkClick r:id="rId3"/>
              </a:rPr>
              <a:t>MapReduce</a:t>
            </a:r>
            <a:r>
              <a:rPr lang="en-US" sz="900" u="sng" kern="1200" dirty="0">
                <a:solidFill>
                  <a:schemeClr val="tx1"/>
                </a:solidFill>
                <a:effectLst/>
                <a:latin typeface="Segoe UI Light" pitchFamily="34" charset="0"/>
                <a:ea typeface="+mn-ea"/>
                <a:cs typeface="+mn-cs"/>
                <a:hlinkClick r:id="rId3"/>
              </a:rPr>
              <a:t> with </a:t>
            </a:r>
            <a:r>
              <a:rPr lang="en-US" sz="900" u="sng" kern="1200" dirty="0" err="1">
                <a:solidFill>
                  <a:schemeClr val="tx1"/>
                </a:solidFill>
                <a:effectLst/>
                <a:latin typeface="Segoe UI Light" pitchFamily="34" charset="0"/>
                <a:ea typeface="+mn-ea"/>
                <a:cs typeface="+mn-cs"/>
                <a:hlinkClick r:id="rId3"/>
              </a:rPr>
              <a:t>HDInsight</a:t>
            </a:r>
            <a:r>
              <a:rPr lang="en-US" sz="900" b="0" kern="1200" dirty="0">
                <a:solidFill>
                  <a:schemeClr val="tx1"/>
                </a:solidFill>
                <a:effectLst/>
                <a:latin typeface="Segoe UI Light" pitchFamily="34" charset="0"/>
                <a:ea typeface="+mn-ea"/>
                <a:cs typeface="+mn-cs"/>
              </a:rPr>
              <a:t>: http://www.windowsazure.com/en-us/manage/services/hdinsight/using-mapreduce-with-hdinsight/</a:t>
            </a:r>
            <a:endParaRPr lang="de-DE" sz="900" b="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739B5-FA55-41AD-8E04-E235281C006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1/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4272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534577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1BB6A-F914-4B73-90ED-4E922066D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8616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dirty="0"/>
          </a:p>
        </p:txBody>
      </p:sp>
    </p:spTree>
    <p:extLst>
      <p:ext uri="{BB962C8B-B14F-4D97-AF65-F5344CB8AC3E}">
        <p14:creationId xmlns:p14="http://schemas.microsoft.com/office/powerpoint/2010/main" val="1125692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9</a:t>
            </a:fld>
            <a:endParaRPr lang="en-US" dirty="0"/>
          </a:p>
        </p:txBody>
      </p:sp>
    </p:spTree>
    <p:extLst>
      <p:ext uri="{BB962C8B-B14F-4D97-AF65-F5344CB8AC3E}">
        <p14:creationId xmlns:p14="http://schemas.microsoft.com/office/powerpoint/2010/main" val="1381432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working with the batch layer, or the cold path, you are working with large volumes of data, typically all the data at once.</a:t>
            </a:r>
          </a:p>
          <a:p>
            <a:r>
              <a:rPr lang="en-US" sz="1200" b="0" i="0" kern="1200" dirty="0">
                <a:solidFill>
                  <a:schemeClr val="tx1"/>
                </a:solidFill>
                <a:effectLst/>
                <a:latin typeface="+mn-lt"/>
                <a:ea typeface="+mn-ea"/>
                <a:cs typeface="+mn-cs"/>
              </a:rPr>
              <a:t>Speed layer concentrates on the near real time processing and my not be entirely accurate, but that is okay. The batch layer will eventually correct the speed layer.</a:t>
            </a:r>
          </a:p>
          <a:p>
            <a:r>
              <a:rPr lang="en-US" sz="1200" b="0" i="0" kern="1200" dirty="0">
                <a:solidFill>
                  <a:schemeClr val="tx1"/>
                </a:solidFill>
                <a:effectLst/>
                <a:latin typeface="+mn-lt"/>
                <a:ea typeface="+mn-ea"/>
                <a:cs typeface="+mn-cs"/>
              </a:rPr>
              <a:t>The serving layer concentrates on generating </a:t>
            </a:r>
            <a:r>
              <a:rPr lang="en-US" sz="1200" b="0" i="0" kern="1200" dirty="0" err="1">
                <a:solidFill>
                  <a:schemeClr val="tx1"/>
                </a:solidFill>
                <a:effectLst/>
                <a:latin typeface="+mn-lt"/>
                <a:ea typeface="+mn-ea"/>
                <a:cs typeface="+mn-cs"/>
              </a:rPr>
              <a:t>denormalized</a:t>
            </a:r>
            <a:r>
              <a:rPr lang="en-US" sz="1200" b="0" i="0" kern="1200" dirty="0">
                <a:solidFill>
                  <a:schemeClr val="tx1"/>
                </a:solidFill>
                <a:effectLst/>
                <a:latin typeface="+mn-lt"/>
                <a:ea typeface="+mn-ea"/>
                <a:cs typeface="+mn-cs"/>
              </a:rPr>
              <a:t>, aggregated views that can support concurrent queries</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dirty="0"/>
          </a:p>
        </p:txBody>
      </p:sp>
    </p:spTree>
    <p:extLst>
      <p:ext uri="{BB962C8B-B14F-4D97-AF65-F5344CB8AC3E}">
        <p14:creationId xmlns:p14="http://schemas.microsoft.com/office/powerpoint/2010/main" val="17961100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lumMod val="65000"/>
                    <a:lumOff val="35000"/>
                  </a:schemeClr>
                </a:solidFill>
                <a:latin typeface="+mn-lt"/>
              </a:rPr>
              <a:t>Enables you to view big data as ‘Tables’ and use familiar SQL-like operations on them.</a:t>
            </a:r>
          </a:p>
          <a:p>
            <a:r>
              <a:rPr lang="en-US" sz="1200" dirty="0">
                <a:solidFill>
                  <a:schemeClr val="tx1">
                    <a:lumMod val="65000"/>
                    <a:lumOff val="35000"/>
                  </a:schemeClr>
                </a:solidFill>
                <a:latin typeface="+mn-lt"/>
              </a:rPr>
              <a:t>Hive tables can be queried using </a:t>
            </a:r>
            <a:r>
              <a:rPr lang="en-US" sz="1200" b="1" dirty="0" err="1">
                <a:solidFill>
                  <a:schemeClr val="tx1">
                    <a:lumMod val="65000"/>
                    <a:lumOff val="35000"/>
                  </a:schemeClr>
                </a:solidFill>
                <a:latin typeface="+mn-lt"/>
              </a:rPr>
              <a:t>HiveQL</a:t>
            </a:r>
            <a:r>
              <a:rPr lang="en-US" sz="1200" dirty="0">
                <a:solidFill>
                  <a:schemeClr val="tx1">
                    <a:lumMod val="65000"/>
                    <a:lumOff val="35000"/>
                  </a:schemeClr>
                </a:solidFill>
                <a:latin typeface="+mn-lt"/>
              </a:rPr>
              <a:t>, a SQL-like query language</a:t>
            </a:r>
          </a:p>
          <a:p>
            <a:r>
              <a:rPr lang="en-US" sz="1200" dirty="0" err="1">
                <a:solidFill>
                  <a:schemeClr val="tx1">
                    <a:lumMod val="65000"/>
                    <a:lumOff val="35000"/>
                  </a:schemeClr>
                </a:solidFill>
              </a:rPr>
              <a:t>HiveQL</a:t>
            </a:r>
            <a:r>
              <a:rPr lang="en-US" sz="1200" dirty="0">
                <a:solidFill>
                  <a:schemeClr val="tx1">
                    <a:lumMod val="65000"/>
                    <a:lumOff val="35000"/>
                  </a:schemeClr>
                </a:solidFill>
              </a:rPr>
              <a:t> queries are eventually executed as MapReduce or </a:t>
            </a:r>
            <a:r>
              <a:rPr lang="en-US" sz="1200" dirty="0" err="1">
                <a:solidFill>
                  <a:schemeClr val="tx1">
                    <a:lumMod val="65000"/>
                    <a:lumOff val="35000"/>
                  </a:schemeClr>
                </a:solidFill>
              </a:rPr>
              <a:t>Tez</a:t>
            </a:r>
            <a:r>
              <a:rPr lang="en-US" sz="1200" dirty="0">
                <a:solidFill>
                  <a:schemeClr val="tx1">
                    <a:lumMod val="65000"/>
                    <a:lumOff val="35000"/>
                  </a:schemeClr>
                </a:solidFill>
              </a:rPr>
              <a:t> programs by Hadoop</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2863716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ch functionality</a:t>
            </a:r>
          </a:p>
          <a:p>
            <a:r>
              <a:rPr lang="en-US" dirty="0"/>
              <a:t>Lot of query language constructs similar to what you see in a SQL language</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1</a:t>
            </a:fld>
            <a:endParaRPr lang="en-US" dirty="0"/>
          </a:p>
        </p:txBody>
      </p:sp>
    </p:spTree>
    <p:extLst>
      <p:ext uri="{BB962C8B-B14F-4D97-AF65-F5344CB8AC3E}">
        <p14:creationId xmlns:p14="http://schemas.microsoft.com/office/powerpoint/2010/main" val="9986814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22847479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nal</a:t>
            </a:r>
          </a:p>
          <a:p>
            <a:pPr marL="0" marR="0" indent="0" algn="l" defTabSz="914367" rtl="0" eaLnBrk="1" fontAlgn="auto" latinLnBrk="0" hangingPunct="1">
              <a:lnSpc>
                <a:spcPct val="100000"/>
              </a:lnSpc>
              <a:spcBef>
                <a:spcPts val="0"/>
              </a:spcBef>
              <a:spcAft>
                <a:spcPts val="0"/>
              </a:spcAft>
              <a:buClrTx/>
              <a:buSzTx/>
              <a:buFontTx/>
              <a:buNone/>
              <a:tabLst/>
              <a:defRPr/>
            </a:pPr>
            <a:r>
              <a:rPr lang="en-US" dirty="0"/>
              <a:t>	</a:t>
            </a:r>
            <a:r>
              <a:rPr lang="en-US" sz="1200" b="0" dirty="0">
                <a:solidFill>
                  <a:schemeClr val="tx1">
                    <a:lumMod val="65000"/>
                    <a:lumOff val="35000"/>
                  </a:schemeClr>
                </a:solidFill>
              </a:rPr>
              <a:t>Manage/control the data.  </a:t>
            </a:r>
          </a:p>
          <a:p>
            <a:pPr marL="0" marR="0" indent="0" algn="l" defTabSz="914367" rtl="0" eaLnBrk="1" fontAlgn="auto" latinLnBrk="0" hangingPunct="1">
              <a:lnSpc>
                <a:spcPct val="100000"/>
              </a:lnSpc>
              <a:spcBef>
                <a:spcPts val="0"/>
              </a:spcBef>
              <a:spcAft>
                <a:spcPts val="0"/>
              </a:spcAft>
              <a:buClrTx/>
              <a:buSzTx/>
              <a:buFontTx/>
              <a:buNone/>
              <a:tabLst/>
              <a:defRPr/>
            </a:pPr>
            <a:r>
              <a:rPr lang="en-US" sz="1200" b="0" dirty="0">
                <a:solidFill>
                  <a:schemeClr val="tx1">
                    <a:lumMod val="65000"/>
                    <a:lumOff val="35000"/>
                  </a:schemeClr>
                </a:solidFill>
              </a:rPr>
              <a:t>	If an internal table is dropped, the associated data is deleted. Default.</a:t>
            </a:r>
          </a:p>
          <a:p>
            <a:pPr marL="0" marR="0" indent="0" algn="l" defTabSz="914367" rtl="0" eaLnBrk="1" fontAlgn="auto" latinLnBrk="0" hangingPunct="1">
              <a:lnSpc>
                <a:spcPct val="100000"/>
              </a:lnSpc>
              <a:spcBef>
                <a:spcPts val="0"/>
              </a:spcBef>
              <a:spcAft>
                <a:spcPts val="0"/>
              </a:spcAft>
              <a:buClrTx/>
              <a:buSzTx/>
              <a:buFontTx/>
              <a:buNone/>
              <a:tabLst/>
              <a:defRPr/>
            </a:pPr>
            <a:r>
              <a:rPr lang="en-US" sz="1200" b="0" dirty="0">
                <a:solidFill>
                  <a:schemeClr val="tx1">
                    <a:lumMod val="65000"/>
                    <a:lumOff val="35000"/>
                  </a:schemeClr>
                </a:solidFill>
              </a:rPr>
              <a:t>External</a:t>
            </a:r>
          </a:p>
          <a:p>
            <a:r>
              <a:rPr lang="en-US" sz="1200" b="0" dirty="0">
                <a:solidFill>
                  <a:schemeClr val="tx1">
                    <a:lumMod val="65000"/>
                    <a:lumOff val="35000"/>
                  </a:schemeClr>
                </a:solidFill>
              </a:rPr>
              <a:t>	</a:t>
            </a:r>
            <a:r>
              <a:rPr lang="en-US" sz="1200" dirty="0">
                <a:solidFill>
                  <a:schemeClr val="tx1">
                    <a:lumMod val="65000"/>
                    <a:lumOff val="35000"/>
                  </a:schemeClr>
                </a:solidFill>
              </a:rPr>
              <a:t>Do not manage/control the data. </a:t>
            </a:r>
          </a:p>
          <a:p>
            <a:r>
              <a:rPr lang="en-US" sz="1200" dirty="0">
                <a:solidFill>
                  <a:schemeClr val="tx1">
                    <a:lumMod val="65000"/>
                    <a:lumOff val="35000"/>
                  </a:schemeClr>
                </a:solidFill>
              </a:rPr>
              <a:t>	If an external</a:t>
            </a:r>
            <a:r>
              <a:rPr lang="en-US" sz="1200" baseline="0" dirty="0">
                <a:solidFill>
                  <a:schemeClr val="tx1">
                    <a:lumMod val="65000"/>
                    <a:lumOff val="35000"/>
                  </a:schemeClr>
                </a:solidFill>
              </a:rPr>
              <a:t> table </a:t>
            </a:r>
            <a:r>
              <a:rPr lang="en-US" sz="1200" dirty="0">
                <a:solidFill>
                  <a:schemeClr val="tx1">
                    <a:lumMod val="65000"/>
                    <a:lumOff val="35000"/>
                  </a:schemeClr>
                </a:solidFill>
              </a:rPr>
              <a:t>is dropped the associated data is not deleted.</a:t>
            </a:r>
            <a:endParaRPr lang="en-US" sz="1400" dirty="0">
              <a:solidFill>
                <a:schemeClr val="tx1">
                  <a:lumMod val="65000"/>
                  <a:lumOff val="35000"/>
                </a:schemeClr>
              </a:solidFill>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solidFill>
                <a:schemeClr val="tx1">
                  <a:lumMod val="65000"/>
                  <a:lumOff val="35000"/>
                </a:schemeClr>
              </a:solidFill>
            </a:endParaRP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dirty="0"/>
          </a:p>
        </p:txBody>
      </p:sp>
    </p:spTree>
    <p:extLst>
      <p:ext uri="{BB962C8B-B14F-4D97-AF65-F5344CB8AC3E}">
        <p14:creationId xmlns:p14="http://schemas.microsoft.com/office/powerpoint/2010/main" val="1476565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4</a:t>
            </a:fld>
            <a:endParaRPr lang="en-US"/>
          </a:p>
        </p:txBody>
      </p:sp>
    </p:spTree>
    <p:extLst>
      <p:ext uri="{BB962C8B-B14F-4D97-AF65-F5344CB8AC3E}">
        <p14:creationId xmlns:p14="http://schemas.microsoft.com/office/powerpoint/2010/main" val="32944268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Hive clients send </a:t>
            </a:r>
            <a:r>
              <a:rPr kumimoji="0" lang="en-US" sz="2000" b="0" i="0" u="none" strike="noStrike" kern="1200" cap="none" spc="0" normalizeH="0" baseline="0" noProof="0" dirty="0" err="1">
                <a:ln>
                  <a:noFill/>
                </a:ln>
                <a:solidFill>
                  <a:srgbClr val="000000">
                    <a:lumMod val="65000"/>
                    <a:lumOff val="35000"/>
                  </a:srgbClr>
                </a:solidFill>
                <a:effectLst/>
                <a:uLnTx/>
                <a:uFillTx/>
                <a:latin typeface="Segoe UI"/>
                <a:ea typeface="+mn-ea"/>
                <a:cs typeface="Segoe UI Semilight" panose="020B0402040204020203" pitchFamily="34" charset="0"/>
              </a:rPr>
              <a:t>HiveQL</a:t>
            </a: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 queries to the driver</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driver sends query to the compiler for parsing and syntax checking.</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compiler gets the metadata from the store and returns a execution plan to the driver.</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driver sends the execution plan to the execution engine.</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execution engine submits the plan as a MR job to be executed by Hadoop. After Hadoop completes execution, the execution engine gets the results which are returned to the driver, which in turn returns the results to the Hive clients. </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34460956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1BB6A-F914-4B73-90ED-4E922066D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3367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7</a:t>
            </a:fld>
            <a:endParaRPr lang="en-US" dirty="0"/>
          </a:p>
        </p:txBody>
      </p:sp>
    </p:spTree>
    <p:extLst>
      <p:ext uri="{BB962C8B-B14F-4D97-AF65-F5344CB8AC3E}">
        <p14:creationId xmlns:p14="http://schemas.microsoft.com/office/powerpoint/2010/main" val="20054766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56256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akes big data analytics accessible to non-programmers who may find writing MR programs an obstacle</a:t>
            </a:r>
          </a:p>
          <a:p>
            <a:endParaRPr lang="en-US" dirty="0">
              <a:ln>
                <a:solidFill>
                  <a:srgbClr val="FFFFFF">
                    <a:alpha val="0"/>
                  </a:srgbClr>
                </a:solidFill>
              </a:ln>
              <a:gradFill>
                <a:gsLst>
                  <a:gs pos="85321">
                    <a:srgbClr val="505050"/>
                  </a:gs>
                  <a:gs pos="57000">
                    <a:srgbClr val="505050"/>
                  </a:gs>
                </a:gsLst>
              </a:gradFill>
              <a:cs typeface="Segoe UI" pitchFamily="34" charset="0"/>
            </a:endParaRPr>
          </a:p>
          <a:p>
            <a:pPr marL="365760" lvl="1" indent="-342900" defTabSz="913770" fontAlgn="base">
              <a:lnSpc>
                <a:spcPts val="2200"/>
              </a:lnSpc>
              <a:spcAft>
                <a:spcPts val="600"/>
              </a:spcAft>
              <a:buClr>
                <a:srgbClr val="68217A">
                  <a:lumMod val="50000"/>
                </a:srgbClr>
              </a:buClr>
              <a:buSzPct val="75000"/>
              <a:buFont typeface="Wingdings" panose="05000000000000000000" pitchFamily="2" charset="2"/>
              <a:buChar char="v"/>
              <a:tabLst>
                <a:tab pos="645523" algn="l"/>
              </a:tabLs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racteristics:</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tensible: User can create custom functions</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asy to program: Complex tasks involving interrelated data transformations can be simplified and encoded as data flow sequences</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lf-optimizing: automatically optimizes execution of Pig job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37750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Talking of big data processing – first thing that comes to mind is Hadoop. It has been very popular for those workloads for the last decade or so. Built for specifically these kinds of scenarios.</a:t>
            </a:r>
          </a:p>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YARN – Yet Another Resource Negotiator (common concept in High Performance Computing Architectures)</a:t>
            </a:r>
          </a:p>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Manages a set of resources (CPU, Memory, Disk) among a set of competing applications.</a:t>
            </a:r>
          </a:p>
          <a:p>
            <a:pPr marL="742950" lvl="2" indent="-285750">
              <a:lnSpc>
                <a:spcPct val="90000"/>
              </a:lnSpc>
              <a:spcAft>
                <a:spcPts val="600"/>
              </a:spcAft>
              <a:buClr>
                <a:schemeClr val="accent3"/>
              </a:buClr>
              <a:buSzPct val="75000"/>
              <a:buFont typeface="Wingdings" panose="05000000000000000000" pitchFamily="2" charset="2"/>
              <a:buChar char="§"/>
            </a:pPr>
            <a:r>
              <a:rPr lang="en-US" sz="1600" dirty="0">
                <a:solidFill>
                  <a:schemeClr val="tx1">
                    <a:lumMod val="65000"/>
                    <a:lumOff val="35000"/>
                  </a:schemeClr>
                </a:solidFill>
              </a:rPr>
              <a:t>Applications using YARN do not have to worry about other applications running on the same cluster</a:t>
            </a:r>
          </a:p>
          <a:p>
            <a:pPr marL="285750" lvl="2"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YARN takes cares of common issues such in running apps on shared resources  including, scheduling, contention, starvation, pre-emption etc.</a:t>
            </a:r>
          </a:p>
          <a:p>
            <a:pPr marL="285750" lvl="2"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Open source, Apache Project</a:t>
            </a:r>
          </a:p>
          <a:p>
            <a:pPr marL="285750" lvl="2"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Is now part of most popular Hadoop Distributions</a:t>
            </a:r>
          </a:p>
          <a:p>
            <a:pPr marL="285750" lvl="2" indent="-285750">
              <a:lnSpc>
                <a:spcPct val="90000"/>
              </a:lnSpc>
              <a:spcAft>
                <a:spcPts val="600"/>
              </a:spcAft>
              <a:buClr>
                <a:schemeClr val="accent3"/>
              </a:buClr>
              <a:buSzPct val="75000"/>
              <a:buFont typeface="Wingdings" panose="05000000000000000000" pitchFamily="2" charset="2"/>
              <a:buChar char="v"/>
            </a:pPr>
            <a:endParaRPr lang="en-US" dirty="0">
              <a:solidFill>
                <a:schemeClr val="tx1">
                  <a:lumMod val="65000"/>
                  <a:lumOff val="35000"/>
                </a:schemeClr>
              </a:solidFill>
            </a:endParaRP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dirty="0"/>
          </a:p>
        </p:txBody>
      </p:sp>
    </p:spTree>
    <p:extLst>
      <p:ext uri="{BB962C8B-B14F-4D97-AF65-F5344CB8AC3E}">
        <p14:creationId xmlns:p14="http://schemas.microsoft.com/office/powerpoint/2010/main" val="5100314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Benefits</a:t>
            </a:r>
          </a:p>
          <a:p>
            <a:pPr marL="336145" indent="-336145" defTabSz="914367">
              <a:spcBef>
                <a:spcPts val="1176"/>
              </a:spcBef>
              <a:defRPr/>
            </a:pPr>
            <a:r>
              <a:rPr lang="en-US" sz="1200" b="0" dirty="0">
                <a:solidFill>
                  <a:srgbClr val="505050"/>
                </a:solidFill>
              </a:rPr>
              <a:t>Extensible. Create custom functions to meet your particular processing requirements</a:t>
            </a:r>
          </a:p>
          <a:p>
            <a:pPr marL="336145" indent="-336145" defTabSz="914367">
              <a:spcBef>
                <a:spcPts val="1176"/>
              </a:spcBef>
              <a:defRPr/>
            </a:pPr>
            <a:r>
              <a:rPr lang="en-US" sz="1200" b="0" dirty="0">
                <a:solidFill>
                  <a:srgbClr val="505050"/>
                </a:solidFill>
              </a:rPr>
              <a:t>Easy to program. Simplify and encode complex tasks involving interrelated data transformations as data flow sequences—easily write and maintain huge tasks</a:t>
            </a:r>
          </a:p>
          <a:p>
            <a:pPr marL="336145" indent="-336145" defTabSz="914367">
              <a:spcBef>
                <a:spcPts val="1176"/>
              </a:spcBef>
              <a:defRPr/>
            </a:pPr>
            <a:r>
              <a:rPr lang="en-US" sz="1200" b="0" dirty="0">
                <a:solidFill>
                  <a:srgbClr val="505050"/>
                </a:solidFill>
              </a:rPr>
              <a:t>Self-optimizing. The system automatically optimizes execution of Pig jobs so you can focus on semantics</a:t>
            </a:r>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351F594-18EA-4B1A-814C-D8B72E2E422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678569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90000"/>
              </a:lnSpc>
              <a:spcAft>
                <a:spcPts val="6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Pig Latin</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Command based language</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Designed specifically for data transformation and flow expression</a:t>
            </a:r>
          </a:p>
          <a:p>
            <a:pPr marL="342900" indent="-342900">
              <a:lnSpc>
                <a:spcPct val="90000"/>
              </a:lnSpc>
              <a:spcBef>
                <a:spcPts val="600"/>
              </a:spcBef>
              <a:spcAft>
                <a:spcPts val="6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Execution Environment</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The engine in which Pig Latin commands are executed</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Supports Local and Hadoop modes</a:t>
            </a:r>
          </a:p>
          <a:p>
            <a:pPr marL="342900" indent="-342900">
              <a:lnSpc>
                <a:spcPct val="90000"/>
              </a:lnSpc>
              <a:spcBef>
                <a:spcPts val="600"/>
              </a:spcBef>
              <a:spcAft>
                <a:spcPts val="6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Pig Compiler</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Converts Pig Latin to optimized MR or </a:t>
            </a:r>
            <a:r>
              <a:rPr lang="en-US" dirty="0" err="1">
                <a:solidFill>
                  <a:schemeClr val="tx1">
                    <a:lumMod val="65000"/>
                    <a:lumOff val="35000"/>
                  </a:schemeClr>
                </a:solidFill>
              </a:rPr>
              <a:t>Tez</a:t>
            </a:r>
            <a:r>
              <a:rPr lang="en-US" dirty="0">
                <a:solidFill>
                  <a:schemeClr val="tx1">
                    <a:lumMod val="65000"/>
                    <a:lumOff val="35000"/>
                  </a:schemeClr>
                </a:solidFill>
              </a:rPr>
              <a:t> program</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516851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179732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3</a:t>
            </a:fld>
            <a:endParaRPr lang="en-US" dirty="0"/>
          </a:p>
        </p:txBody>
      </p:sp>
    </p:spTree>
    <p:extLst>
      <p:ext uri="{BB962C8B-B14F-4D97-AF65-F5344CB8AC3E}">
        <p14:creationId xmlns:p14="http://schemas.microsoft.com/office/powerpoint/2010/main" val="30111900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4</a:t>
            </a:fld>
            <a:endParaRPr lang="en-US" dirty="0"/>
          </a:p>
        </p:txBody>
      </p:sp>
    </p:spTree>
    <p:extLst>
      <p:ext uri="{BB962C8B-B14F-4D97-AF65-F5344CB8AC3E}">
        <p14:creationId xmlns:p14="http://schemas.microsoft.com/office/powerpoint/2010/main" val="17290512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5</a:t>
            </a:fld>
            <a:endParaRPr lang="en-US" dirty="0"/>
          </a:p>
        </p:txBody>
      </p:sp>
    </p:spTree>
    <p:extLst>
      <p:ext uri="{BB962C8B-B14F-4D97-AF65-F5344CB8AC3E}">
        <p14:creationId xmlns:p14="http://schemas.microsoft.com/office/powerpoint/2010/main" val="6149898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6</a:t>
            </a:fld>
            <a:endParaRPr lang="en-US" dirty="0"/>
          </a:p>
        </p:txBody>
      </p:sp>
    </p:spTree>
    <p:extLst>
      <p:ext uri="{BB962C8B-B14F-4D97-AF65-F5344CB8AC3E}">
        <p14:creationId xmlns:p14="http://schemas.microsoft.com/office/powerpoint/2010/main" val="325111720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690FEDC-C7B0-437E-8E9B-6BFD923A532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1535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r>
              <a:rPr lang="en-US" dirty="0"/>
              <a:t>ADLS accounts have encryption at rest enabled by default. Integrated with Key Vault for key management. </a:t>
            </a:r>
          </a:p>
          <a:p>
            <a:pPr marL="109306" lvl="1" indent="0">
              <a:buNone/>
            </a:pPr>
            <a:r>
              <a:rPr lang="en-US" dirty="0"/>
              <a:t>Secure network access with firewalls, virtual networks</a:t>
            </a:r>
          </a:p>
          <a:p>
            <a:pPr marL="109306" lvl="1" indent="0">
              <a:buNone/>
            </a:pPr>
            <a:endParaRPr lang="en-US" dirty="0"/>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8</a:t>
            </a:fld>
            <a:endParaRPr lang="en-US" dirty="0"/>
          </a:p>
        </p:txBody>
      </p:sp>
    </p:spTree>
    <p:extLst>
      <p:ext uri="{BB962C8B-B14F-4D97-AF65-F5344CB8AC3E}">
        <p14:creationId xmlns:p14="http://schemas.microsoft.com/office/powerpoint/2010/main" val="2149503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9</a:t>
            </a:fld>
            <a:endParaRPr lang="en-US" dirty="0"/>
          </a:p>
        </p:txBody>
      </p:sp>
    </p:spTree>
    <p:extLst>
      <p:ext uri="{BB962C8B-B14F-4D97-AF65-F5344CB8AC3E}">
        <p14:creationId xmlns:p14="http://schemas.microsoft.com/office/powerpoint/2010/main" val="32646773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processing framework – map reduce</a:t>
            </a:r>
          </a:p>
          <a:p>
            <a:r>
              <a:rPr lang="en-US" dirty="0"/>
              <a:t>Yarn – resource manager</a:t>
            </a:r>
          </a:p>
          <a:p>
            <a:r>
              <a:rPr lang="en-US" dirty="0" err="1"/>
              <a:t>Hdfs</a:t>
            </a:r>
            <a:r>
              <a:rPr lang="en-US" dirty="0"/>
              <a:t> – file storage</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dirty="0"/>
          </a:p>
        </p:txBody>
      </p:sp>
    </p:spTree>
    <p:extLst>
      <p:ext uri="{BB962C8B-B14F-4D97-AF65-F5344CB8AC3E}">
        <p14:creationId xmlns:p14="http://schemas.microsoft.com/office/powerpoint/2010/main" val="2460439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568" dirty="0">
                <a:gradFill>
                  <a:gsLst>
                    <a:gs pos="2920">
                      <a:schemeClr val="tx2"/>
                    </a:gs>
                    <a:gs pos="39000">
                      <a:schemeClr val="tx2"/>
                    </a:gs>
                  </a:gsLst>
                  <a:lin ang="5400000" scaled="0"/>
                </a:gradFill>
              </a:rPr>
              <a:t>Big ecosystem</a:t>
            </a:r>
          </a:p>
          <a:p>
            <a:pPr lvl="0"/>
            <a:r>
              <a:rPr lang="en-US" sz="1568" dirty="0">
                <a:gradFill>
                  <a:gsLst>
                    <a:gs pos="2920">
                      <a:schemeClr val="tx2"/>
                    </a:gs>
                    <a:gs pos="39000">
                      <a:schemeClr val="tx2"/>
                    </a:gs>
                  </a:gsLst>
                  <a:lin ang="5400000" scaled="0"/>
                </a:gradFill>
              </a:rPr>
              <a:t>Lot of services catering to different use cases</a:t>
            </a:r>
          </a:p>
          <a:p>
            <a:pPr lvl="0"/>
            <a:endParaRPr lang="en-US" sz="1568" dirty="0">
              <a:gradFill>
                <a:gsLst>
                  <a:gs pos="2920">
                    <a:schemeClr val="tx2"/>
                  </a:gs>
                  <a:gs pos="39000">
                    <a:schemeClr val="tx2"/>
                  </a:gs>
                </a:gsLst>
                <a:lin ang="5400000" scaled="0"/>
              </a:gradFill>
            </a:endParaRPr>
          </a:p>
          <a:p>
            <a:pPr lvl="0"/>
            <a:r>
              <a:rPr lang="en-US" sz="1568" dirty="0">
                <a:gradFill>
                  <a:gsLst>
                    <a:gs pos="2920">
                      <a:schemeClr val="tx2"/>
                    </a:gs>
                    <a:gs pos="39000">
                      <a:schemeClr val="tx2"/>
                    </a:gs>
                  </a:gsLst>
                  <a:lin ang="5400000" scaled="0"/>
                </a:gradFill>
              </a:rPr>
              <a:t>Data services which allow you to manipulate and move data (Hive, HBase, Pig, Flume, </a:t>
            </a:r>
            <a:r>
              <a:rPr lang="en-US" sz="1568" dirty="0" err="1">
                <a:gradFill>
                  <a:gsLst>
                    <a:gs pos="2920">
                      <a:schemeClr val="tx2"/>
                    </a:gs>
                    <a:gs pos="39000">
                      <a:schemeClr val="tx2"/>
                    </a:gs>
                  </a:gsLst>
                  <a:lin ang="5400000" scaled="0"/>
                </a:gradFill>
              </a:rPr>
              <a:t>Sqoop</a:t>
            </a:r>
            <a:r>
              <a:rPr lang="en-US" sz="1568" dirty="0">
                <a:gradFill>
                  <a:gsLst>
                    <a:gs pos="2920">
                      <a:schemeClr val="tx2"/>
                    </a:gs>
                    <a:gs pos="39000">
                      <a:schemeClr val="tx2"/>
                    </a:gs>
                  </a:gsLst>
                  <a:lin ang="5400000" scaled="0"/>
                </a:gradFill>
              </a:rPr>
              <a:t>) </a:t>
            </a:r>
          </a:p>
          <a:p>
            <a:pPr lvl="0"/>
            <a:r>
              <a:rPr lang="en-US" sz="1568" dirty="0">
                <a:gradFill>
                  <a:gsLst>
                    <a:gs pos="2920">
                      <a:schemeClr val="tx2"/>
                    </a:gs>
                    <a:gs pos="39000">
                      <a:schemeClr val="tx2"/>
                    </a:gs>
                  </a:gsLst>
                  <a:lin ang="5400000" scaled="0"/>
                </a:gradFill>
              </a:rPr>
              <a:t>Operational services which help manage the cluster (</a:t>
            </a:r>
            <a:r>
              <a:rPr lang="en-US" sz="1568" dirty="0" err="1">
                <a:gradFill>
                  <a:gsLst>
                    <a:gs pos="2920">
                      <a:schemeClr val="tx2"/>
                    </a:gs>
                    <a:gs pos="39000">
                      <a:schemeClr val="tx2"/>
                    </a:gs>
                  </a:gsLst>
                  <a:lin ang="5400000" scaled="0"/>
                </a:gradFill>
              </a:rPr>
              <a:t>Ambari</a:t>
            </a:r>
            <a:r>
              <a:rPr lang="en-US" sz="1568" dirty="0">
                <a:gradFill>
                  <a:gsLst>
                    <a:gs pos="2920">
                      <a:schemeClr val="tx2"/>
                    </a:gs>
                    <a:gs pos="39000">
                      <a:schemeClr val="tx2"/>
                    </a:gs>
                  </a:gsLst>
                  <a:lin ang="5400000" scaled="0"/>
                </a:gradFill>
              </a:rPr>
              <a:t>, Falcon, and </a:t>
            </a:r>
            <a:r>
              <a:rPr lang="en-US" sz="1568" dirty="0" err="1">
                <a:gradFill>
                  <a:gsLst>
                    <a:gs pos="2920">
                      <a:schemeClr val="tx2"/>
                    </a:gs>
                    <a:gs pos="39000">
                      <a:schemeClr val="tx2"/>
                    </a:gs>
                  </a:gsLst>
                  <a:lin ang="5400000" scaled="0"/>
                </a:gradFill>
              </a:rPr>
              <a:t>Oozie</a:t>
            </a:r>
            <a:r>
              <a:rPr lang="en-US" sz="1568" dirty="0">
                <a:gradFill>
                  <a:gsLst>
                    <a:gs pos="2920">
                      <a:schemeClr val="tx2"/>
                    </a:gs>
                    <a:gs pos="39000">
                      <a:schemeClr val="tx2"/>
                    </a:gs>
                  </a:gsLst>
                  <a:lin ang="5400000" scaled="0"/>
                </a:gradFill>
              </a:rPr>
              <a:t>)</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dirty="0"/>
          </a:p>
        </p:txBody>
      </p:sp>
    </p:spTree>
    <p:extLst>
      <p:ext uri="{BB962C8B-B14F-4D97-AF65-F5344CB8AC3E}">
        <p14:creationId xmlns:p14="http://schemas.microsoft.com/office/powerpoint/2010/main" val="3933971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HDInsight</a:t>
            </a:r>
          </a:p>
          <a:p>
            <a:pPr lvl="1"/>
            <a:r>
              <a:rPr lang="en-US" dirty="0"/>
              <a:t>Cloud-based implementation of Hadoop</a:t>
            </a:r>
          </a:p>
          <a:p>
            <a:pPr lvl="1"/>
            <a:r>
              <a:rPr lang="en-US" dirty="0"/>
              <a:t>Available as a Microsoft Azure service</a:t>
            </a:r>
          </a:p>
          <a:p>
            <a:r>
              <a:rPr lang="en-US" dirty="0"/>
              <a:t>SQL Server Parallel Data Warehouse</a:t>
            </a:r>
          </a:p>
          <a:p>
            <a:pPr lvl="1"/>
            <a:r>
              <a:rPr lang="en-US" dirty="0"/>
              <a:t>Enterprise data warehouse appliance</a:t>
            </a:r>
          </a:p>
          <a:p>
            <a:pPr lvl="1"/>
            <a:r>
              <a:rPr lang="en-US" dirty="0"/>
              <a:t>Massively Parallel Processing (MPP), shared-nothing architecture</a:t>
            </a:r>
          </a:p>
          <a:p>
            <a:r>
              <a:rPr lang="en-US" dirty="0" err="1"/>
              <a:t>PolyBase</a:t>
            </a:r>
            <a:endParaRPr lang="en-US" dirty="0"/>
          </a:p>
          <a:p>
            <a:pPr lvl="1"/>
            <a:r>
              <a:rPr lang="en-US" dirty="0"/>
              <a:t>Integration technology for SQL Server Parallel Data Warehouse and HDInsight</a:t>
            </a:r>
          </a:p>
          <a:p>
            <a:pPr lvl="1"/>
            <a:endParaRPr lang="en-US" dirty="0"/>
          </a:p>
          <a:p>
            <a:pPr lvl="0"/>
            <a:r>
              <a:rPr lang="en-US" dirty="0"/>
              <a:t>Azure</a:t>
            </a:r>
            <a:r>
              <a:rPr lang="en-US" baseline="0" dirty="0"/>
              <a:t> Batch </a:t>
            </a:r>
          </a:p>
          <a:p>
            <a:pPr lvl="1"/>
            <a:r>
              <a:rPr lang="en-US" dirty="0"/>
              <a:t>supports batch processing very nicely with the existing components in the Toolbox.  A simple approach to implementing batch processing in SSIS is to come up with a way to group the rows to be processed into batches, process each batch, then update each group as processed.  Let's begin by describing a scenario then implement an </a:t>
            </a:r>
            <a:endParaRPr lang="en-US" baseline="0" dirty="0"/>
          </a:p>
          <a:p>
            <a:pPr lvl="0"/>
            <a:r>
              <a:rPr lang="en-US" dirty="0"/>
              <a:t>SSIS </a:t>
            </a:r>
          </a:p>
          <a:p>
            <a:pPr lvl="1"/>
            <a:r>
              <a:rPr lang="en-US" dirty="0"/>
              <a:t>A simple approach to implementing batch processing in SSIS is to come up with a way to group the rows to be processed into batches, process each batch, then update each group as processed. </a:t>
            </a:r>
          </a:p>
          <a:p>
            <a:pPr lvl="1"/>
            <a:r>
              <a:rPr lang="en-US" dirty="0"/>
              <a:t>A common requirement in developing reporting applications is to aggregate data allowing report queries to run very quickl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23910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s from other big data analytics offerings in that it is based on query jobs</a:t>
            </a:r>
          </a:p>
          <a:p>
            <a:r>
              <a:rPr lang="en-US" dirty="0"/>
              <a:t>Pay per job…scale AUs instantly</a:t>
            </a:r>
          </a:p>
          <a:p>
            <a:r>
              <a:rPr lang="en-US" dirty="0"/>
              <a:t>No servers, </a:t>
            </a:r>
            <a:r>
              <a:rPr lang="en-US" dirty="0" err="1"/>
              <a:t>vms</a:t>
            </a:r>
            <a:r>
              <a:rPr lang="en-US" dirty="0"/>
              <a:t>, or clusters to manage</a:t>
            </a:r>
          </a:p>
          <a:p>
            <a:r>
              <a:rPr lang="en-US" sz="1200" b="0" i="0" kern="1200" dirty="0">
                <a:solidFill>
                  <a:schemeClr val="tx1"/>
                </a:solidFill>
                <a:effectLst/>
                <a:latin typeface="+mn-lt"/>
                <a:ea typeface="+mn-ea"/>
                <a:cs typeface="+mn-cs"/>
              </a:rPr>
              <a:t>U-SQL, a query language that extends the familiar, simple, declarative nature of SQL with the expressive power of C#</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9</a:t>
            </a:fld>
            <a:endParaRPr lang="en-US" dirty="0"/>
          </a:p>
        </p:txBody>
      </p:sp>
    </p:spTree>
    <p:extLst>
      <p:ext uri="{BB962C8B-B14F-4D97-AF65-F5344CB8AC3E}">
        <p14:creationId xmlns:p14="http://schemas.microsoft.com/office/powerpoint/2010/main" val="38666786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6.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0" y="164177"/>
            <a:ext cx="4666277"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14572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319853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96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154235041"/>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593865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6136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31404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86C4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41695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06352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7543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460301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0029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845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1615545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09168566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10272908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3142" y="6434664"/>
            <a:ext cx="935823" cy="239431"/>
          </a:xfrm>
          <a:prstGeom prst="rect">
            <a:avLst/>
          </a:prstGeom>
        </p:spPr>
      </p:pic>
    </p:spTree>
    <p:extLst>
      <p:ext uri="{BB962C8B-B14F-4D97-AF65-F5344CB8AC3E}">
        <p14:creationId xmlns:p14="http://schemas.microsoft.com/office/powerpoint/2010/main" val="396167875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36095535"/>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39671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70927391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7807678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8241441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717202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40219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33216178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16617236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9291703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6546495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365200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99332621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75767418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0369878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8934073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70296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11/2017</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223104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342656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404826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6198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3235384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1497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07045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6391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04429597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1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7364865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1075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14369192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3926069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67045573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41832969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53310461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941486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92079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9708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57178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8603234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2490807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8480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41629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5886115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80889825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67891210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839703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983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23205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402135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632357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3302050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0044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283801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9254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52031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95661745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588633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7122235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413029790"/>
      </p:ext>
    </p:extLst>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3372473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84570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2754812157"/>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936738171"/>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4973853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9446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58558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81545694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27464901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695185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860318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vmlDrawing" Target="../drawings/vmlDrawing1.vml"/><Relationship Id="rId2" Type="http://schemas.openxmlformats.org/officeDocument/2006/relationships/slideLayout" Target="../slideLayouts/slideLayout24.xml"/><Relationship Id="rId16"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5" Type="http://schemas.openxmlformats.org/officeDocument/2006/relationships/image" Target="../media/image3.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10.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heme" Target="../theme/theme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6.xml"/><Relationship Id="rId18" Type="http://schemas.openxmlformats.org/officeDocument/2006/relationships/image" Target="../media/image12.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image" Target="../media/image3.emf"/><Relationship Id="rId2" Type="http://schemas.openxmlformats.org/officeDocument/2006/relationships/slideLayout" Target="../slideLayouts/slideLayout84.xml"/><Relationship Id="rId16" Type="http://schemas.openxmlformats.org/officeDocument/2006/relationships/oleObject" Target="../embeddings/oleObject2.bin"/><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tags" Target="../tags/tag2.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670" r:id="rId9"/>
    <p:sldLayoutId id="2147483814" r:id="rId10"/>
    <p:sldLayoutId id="2147483700" r:id="rId11"/>
    <p:sldLayoutId id="2147483702"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18444747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4" imgW="377" imgH="377" progId="TCLayout.ActiveDocument.1">
                  <p:embed/>
                </p:oleObj>
              </mc:Choice>
              <mc:Fallback>
                <p:oleObj name="think-cell Slide" r:id="rId14" imgW="377" imgH="377" progId="TCLayout.ActiveDocument.1">
                  <p:embed/>
                  <p:pic>
                    <p:nvPicPr>
                      <p:cNvPr id="4" name="Object 3" hidden="1"/>
                      <p:cNvPicPr/>
                      <p:nvPr/>
                    </p:nvPicPr>
                    <p:blipFill>
                      <a:blip r:embed="rId1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80622610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1" r:id="rId5"/>
    <p:sldLayoutId id="2147483752" r:id="rId6"/>
    <p:sldLayoutId id="2147483753" r:id="rId7"/>
    <p:sldLayoutId id="2147483754" r:id="rId8"/>
    <p:sldLayoutId id="2147483755" r:id="rId9"/>
    <p:sldLayoutId id="2147483813" r:id="rId10"/>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293">
          <p15:clr>
            <a:srgbClr val="C35EA4"/>
          </p15:clr>
        </p15:guide>
        <p15:guide id="24" pos="7565">
          <p15:clr>
            <a:srgbClr val="C35EA4"/>
          </p15:clr>
        </p15:guide>
        <p15:guide id="25" orient="horz" pos="302">
          <p15:clr>
            <a:srgbClr val="C35EA4"/>
          </p15:clr>
        </p15:guide>
        <p15:guide id="26" orient="horz" pos="815">
          <p15:clr>
            <a:srgbClr val="C35EA4"/>
          </p15:clr>
        </p15:guide>
        <p15:guide id="28" orient="horz" pos="4075">
          <p15:clr>
            <a:srgbClr val="C35EA4"/>
          </p15:clr>
        </p15:guide>
        <p15:guide id="29" orient="horz" pos="76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79239383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80" r:id="rId14"/>
    <p:sldLayoutId id="2147483781" r:id="rId15"/>
    <p:sldLayoutId id="2147483782" r:id="rId16"/>
    <p:sldLayoutId id="2147483783" r:id="rId17"/>
    <p:sldLayoutId id="2147483784" r:id="rId18"/>
    <p:sldLayoutId id="2147483785" r:id="rId19"/>
    <p:sldLayoutId id="2147483786" r:id="rId20"/>
    <p:sldLayoutId id="2147483795" r:id="rId21"/>
    <p:sldLayoutId id="2147483796" r:id="rId22"/>
    <p:sldLayoutId id="2147483797" r:id="rId23"/>
    <p:sldLayoutId id="2147483799" r:id="rId24"/>
    <p:sldLayoutId id="2147483800" r:id="rId25"/>
    <p:sldLayoutId id="2147483809" r:id="rId26"/>
    <p:sldLayoutId id="2147483810" r:id="rId27"/>
    <p:sldLayoutId id="2147483812"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542575255"/>
      </p:ext>
    </p:extLst>
  </p:cSld>
  <p:clrMap bg1="dk1" tx1="lt1" bg2="dk2" tx2="lt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16" imgW="377" imgH="377" progId="TCLayout.ActiveDocument.1">
                  <p:embed/>
                </p:oleObj>
              </mc:Choice>
              <mc:Fallback>
                <p:oleObj name="think-cell Slide" r:id="rId16" imgW="377" imgH="377" progId="TCLayout.ActiveDocument.1">
                  <p:embed/>
                  <p:pic>
                    <p:nvPicPr>
                      <p:cNvPr id="4" name="Object 3" hidden="1"/>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203957126"/>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3.xml"/><Relationship Id="rId1" Type="http://schemas.openxmlformats.org/officeDocument/2006/relationships/slideLayout" Target="../slideLayouts/slideLayout3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6.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dirty="0"/>
              <a:t>04 | Design big data batch processing and interactive solutions</a:t>
            </a:r>
          </a:p>
        </p:txBody>
      </p:sp>
      <p:sp>
        <p:nvSpPr>
          <p:cNvPr id="4" name="Subtitle 3"/>
          <p:cNvSpPr>
            <a:spLocks noGrp="1"/>
          </p:cNvSpPr>
          <p:nvPr>
            <p:ph type="subTitle" idx="1"/>
          </p:nvPr>
        </p:nvSpPr>
        <p:spPr>
          <a:xfrm>
            <a:off x="193270" y="5132437"/>
            <a:ext cx="8858451" cy="882601"/>
          </a:xfrm>
        </p:spPr>
        <p:txBody>
          <a:bodyPr/>
          <a:lstStyle/>
          <a:p>
            <a:r>
              <a:rPr lang="en-US" dirty="0"/>
              <a:t>Jaladhi Mehta| Data Solution Architect</a:t>
            </a:r>
          </a:p>
        </p:txBody>
      </p:sp>
    </p:spTree>
    <p:extLst>
      <p:ext uri="{BB962C8B-B14F-4D97-AF65-F5344CB8AC3E}">
        <p14:creationId xmlns:p14="http://schemas.microsoft.com/office/powerpoint/2010/main" val="16301964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A18EF-D987-463A-B978-9965F0FC8EF3}"/>
              </a:ext>
            </a:extLst>
          </p:cNvPr>
          <p:cNvSpPr>
            <a:spLocks noGrp="1"/>
          </p:cNvSpPr>
          <p:nvPr>
            <p:ph type="title"/>
          </p:nvPr>
        </p:nvSpPr>
        <p:spPr/>
        <p:txBody>
          <a:bodyPr/>
          <a:lstStyle/>
          <a:p>
            <a:r>
              <a:rPr lang="en-US" dirty="0"/>
              <a:t>Azure Data Lake</a:t>
            </a:r>
          </a:p>
        </p:txBody>
      </p:sp>
      <p:sp>
        <p:nvSpPr>
          <p:cNvPr id="70" name="Rectangle 69">
            <a:extLst>
              <a:ext uri="{FF2B5EF4-FFF2-40B4-BE49-F238E27FC236}">
                <a16:creationId xmlns:a16="http://schemas.microsoft.com/office/drawing/2014/main" id="{60CEC9CD-AF94-46AC-8583-F516C907C4FB}"/>
              </a:ext>
            </a:extLst>
          </p:cNvPr>
          <p:cNvSpPr>
            <a:spLocks/>
          </p:cNvSpPr>
          <p:nvPr/>
        </p:nvSpPr>
        <p:spPr>
          <a:xfrm>
            <a:off x="2667000" y="4095480"/>
            <a:ext cx="6858000" cy="1017857"/>
          </a:xfrm>
          <a:prstGeom prst="rect">
            <a:avLst/>
          </a:prstGeom>
          <a:solidFill>
            <a:srgbClr val="50B347"/>
          </a:solidFill>
          <a:ln w="9525" cap="flat" cmpd="sng" algn="ctr">
            <a:noFill/>
            <a:prstDash val="solid"/>
          </a:ln>
          <a:effectLst/>
        </p:spPr>
        <p:txBody>
          <a:bodyPr lIns="152400" tIns="0" rIns="15240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Arial"/>
              </a:rPr>
              <a:t>WebHDFS</a:t>
            </a:r>
            <a:endParaRPr kumimoji="0" lang="en-US" sz="1400" b="0" i="0" u="none" strike="noStrike" kern="1200" cap="none" spc="0" normalizeH="0" baseline="0" noProof="0" dirty="0">
              <a:ln>
                <a:noFill/>
              </a:ln>
              <a:solidFill>
                <a:prstClr val="white"/>
              </a:solidFill>
              <a:effectLst/>
              <a:uLnTx/>
              <a:uFillTx/>
              <a:latin typeface="Segoe UI"/>
              <a:ea typeface="+mn-ea"/>
              <a:cs typeface="Arial"/>
            </a:endParaRPr>
          </a:p>
        </p:txBody>
      </p:sp>
      <p:sp>
        <p:nvSpPr>
          <p:cNvPr id="71" name="Freeform 68">
            <a:extLst>
              <a:ext uri="{FF2B5EF4-FFF2-40B4-BE49-F238E27FC236}">
                <a16:creationId xmlns:a16="http://schemas.microsoft.com/office/drawing/2014/main" id="{9E11D5EA-C91D-450B-ACC7-547E30853513}"/>
              </a:ext>
            </a:extLst>
          </p:cNvPr>
          <p:cNvSpPr/>
          <p:nvPr/>
        </p:nvSpPr>
        <p:spPr bwMode="auto">
          <a:xfrm rot="10800000" flipV="1">
            <a:off x="2667000" y="4431191"/>
            <a:ext cx="6858000" cy="18507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50B34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C4B9C42D-4BE9-4DF5-AB6A-51CBEDC07884}"/>
              </a:ext>
            </a:extLst>
          </p:cNvPr>
          <p:cNvSpPr>
            <a:spLocks/>
          </p:cNvSpPr>
          <p:nvPr/>
        </p:nvSpPr>
        <p:spPr>
          <a:xfrm>
            <a:off x="2667000" y="1916581"/>
            <a:ext cx="6858000" cy="1935679"/>
          </a:xfrm>
          <a:prstGeom prst="rect">
            <a:avLst/>
          </a:prstGeom>
          <a:solidFill>
            <a:srgbClr val="0D163D">
              <a:lumMod val="90000"/>
              <a:lumOff val="10000"/>
            </a:srgbClr>
          </a:solidFill>
          <a:ln w="9525" cap="flat" cmpd="sng" algn="ctr">
            <a:noFill/>
            <a:prstDash val="solid"/>
          </a:ln>
          <a:effectLst/>
        </p:spPr>
        <p:txBody>
          <a:bodyPr lIns="152400" tIns="0" rIns="152400"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Arial"/>
              </a:rPr>
              <a:t>YARN</a:t>
            </a:r>
            <a:endParaRPr kumimoji="0" lang="en-US" sz="1400" b="0" i="0" u="none" strike="noStrike" kern="1200" cap="none" spc="0" normalizeH="0" baseline="0" noProof="0" dirty="0">
              <a:ln>
                <a:noFill/>
              </a:ln>
              <a:solidFill>
                <a:prstClr val="white"/>
              </a:solidFill>
              <a:effectLst/>
              <a:uLnTx/>
              <a:uFillTx/>
              <a:latin typeface="Segoe UI"/>
              <a:ea typeface="+mn-ea"/>
              <a:cs typeface="Arial"/>
            </a:endParaRPr>
          </a:p>
        </p:txBody>
      </p:sp>
      <p:sp>
        <p:nvSpPr>
          <p:cNvPr id="73" name="Freeform 5">
            <a:extLst>
              <a:ext uri="{FF2B5EF4-FFF2-40B4-BE49-F238E27FC236}">
                <a16:creationId xmlns:a16="http://schemas.microsoft.com/office/drawing/2014/main" id="{EB1BD977-2A50-4652-9390-6A96C9946EAB}"/>
              </a:ext>
            </a:extLst>
          </p:cNvPr>
          <p:cNvSpPr/>
          <p:nvPr/>
        </p:nvSpPr>
        <p:spPr bwMode="auto">
          <a:xfrm rot="10800000">
            <a:off x="2667000" y="1578260"/>
            <a:ext cx="6858000" cy="1848081"/>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3A0C0EB5-C76B-45F0-B6EC-8A6BBC3F4A9E}"/>
              </a:ext>
            </a:extLst>
          </p:cNvPr>
          <p:cNvSpPr txBox="1"/>
          <p:nvPr/>
        </p:nvSpPr>
        <p:spPr>
          <a:xfrm>
            <a:off x="3450238" y="2393804"/>
            <a:ext cx="2093211" cy="500137"/>
          </a:xfrm>
          <a:prstGeom prst="rect">
            <a:avLst/>
          </a:prstGeom>
          <a:noFill/>
        </p:spPr>
        <p:txBody>
          <a:bodyPr wrap="square" rtlCol="0">
            <a:spAutoFit/>
          </a:bodyPr>
          <a:lstStyle/>
          <a:p>
            <a:pPr algn="ctr" defTabSz="761970">
              <a:defRPr/>
            </a:pPr>
            <a:r>
              <a:rPr lang="en-US" sz="1600" kern="0" dirty="0">
                <a:solidFill>
                  <a:prstClr val="white"/>
                </a:solidFill>
                <a:latin typeface="Segoe UI"/>
              </a:rPr>
              <a:t>U-SQL</a:t>
            </a:r>
          </a:p>
          <a:p>
            <a:pPr algn="ctr" defTabSz="761970">
              <a:defRPr/>
            </a:pPr>
            <a:r>
              <a:rPr lang="en-US" sz="1050" i="1" kern="0" dirty="0">
                <a:solidFill>
                  <a:prstClr val="white"/>
                </a:solidFill>
                <a:latin typeface="Segoe UI"/>
              </a:rPr>
              <a:t>(extensible by C#, R and Python)</a:t>
            </a:r>
          </a:p>
        </p:txBody>
      </p:sp>
      <p:sp>
        <p:nvSpPr>
          <p:cNvPr id="75" name="TextBox 74">
            <a:extLst>
              <a:ext uri="{FF2B5EF4-FFF2-40B4-BE49-F238E27FC236}">
                <a16:creationId xmlns:a16="http://schemas.microsoft.com/office/drawing/2014/main" id="{A30AB12A-B7FE-4F6D-A053-4884907F3BA3}"/>
              </a:ext>
            </a:extLst>
          </p:cNvPr>
          <p:cNvSpPr txBox="1"/>
          <p:nvPr/>
        </p:nvSpPr>
        <p:spPr>
          <a:xfrm>
            <a:off x="3027934" y="1719924"/>
            <a:ext cx="3257278" cy="369332"/>
          </a:xfrm>
          <a:prstGeom prst="rect">
            <a:avLst/>
          </a:prstGeom>
          <a:noFill/>
        </p:spPr>
        <p:txBody>
          <a:bodyPr wrap="square" rtlCol="0">
            <a:spAutoFit/>
          </a:bodyPr>
          <a:lstStyle/>
          <a:p>
            <a:pPr defTabSz="761970">
              <a:defRPr/>
            </a:pPr>
            <a:r>
              <a:rPr lang="en-US" kern="0" dirty="0">
                <a:solidFill>
                  <a:prstClr val="white"/>
                </a:solidFill>
                <a:latin typeface="Segoe UI"/>
              </a:rPr>
              <a:t>Analytics</a:t>
            </a:r>
          </a:p>
        </p:txBody>
      </p:sp>
      <p:sp>
        <p:nvSpPr>
          <p:cNvPr id="76" name="TextBox 75">
            <a:extLst>
              <a:ext uri="{FF2B5EF4-FFF2-40B4-BE49-F238E27FC236}">
                <a16:creationId xmlns:a16="http://schemas.microsoft.com/office/drawing/2014/main" id="{07130391-F4D0-4287-B85B-2287DAED0E60}"/>
              </a:ext>
            </a:extLst>
          </p:cNvPr>
          <p:cNvSpPr txBox="1"/>
          <p:nvPr/>
        </p:nvSpPr>
        <p:spPr>
          <a:xfrm>
            <a:off x="6287707" y="1735514"/>
            <a:ext cx="2943968" cy="369332"/>
          </a:xfrm>
          <a:prstGeom prst="rect">
            <a:avLst/>
          </a:prstGeom>
          <a:noFill/>
        </p:spPr>
        <p:txBody>
          <a:bodyPr wrap="square" rtlCol="0">
            <a:spAutoFit/>
          </a:bodyPr>
          <a:lstStyle/>
          <a:p>
            <a:pPr marL="0" lvl="1" algn="r" defTabSz="761970">
              <a:defRPr/>
            </a:pPr>
            <a:r>
              <a:rPr lang="en-US" kern="0" dirty="0">
                <a:solidFill>
                  <a:prstClr val="white"/>
                </a:solidFill>
                <a:latin typeface="Segoe UI"/>
              </a:rPr>
              <a:t>HDInsight</a:t>
            </a:r>
          </a:p>
        </p:txBody>
      </p:sp>
      <p:grpSp>
        <p:nvGrpSpPr>
          <p:cNvPr id="77" name="Group 76">
            <a:extLst>
              <a:ext uri="{FF2B5EF4-FFF2-40B4-BE49-F238E27FC236}">
                <a16:creationId xmlns:a16="http://schemas.microsoft.com/office/drawing/2014/main" id="{460714D2-B914-43D9-87F1-33D34FD0B557}"/>
              </a:ext>
            </a:extLst>
          </p:cNvPr>
          <p:cNvGrpSpPr/>
          <p:nvPr/>
        </p:nvGrpSpPr>
        <p:grpSpPr>
          <a:xfrm>
            <a:off x="3975356" y="5219121"/>
            <a:ext cx="4358496" cy="957020"/>
            <a:chOff x="5226398" y="6112562"/>
            <a:chExt cx="4284412" cy="1104729"/>
          </a:xfrm>
        </p:grpSpPr>
        <p:sp>
          <p:nvSpPr>
            <p:cNvPr id="78" name="Rounded Rectangle 13">
              <a:extLst>
                <a:ext uri="{FF2B5EF4-FFF2-40B4-BE49-F238E27FC236}">
                  <a16:creationId xmlns:a16="http://schemas.microsoft.com/office/drawing/2014/main" id="{0DDBA705-849D-4406-BD30-F3DA45278EF6}"/>
                </a:ext>
              </a:extLst>
            </p:cNvPr>
            <p:cNvSpPr>
              <a:spLocks/>
            </p:cNvSpPr>
            <p:nvPr/>
          </p:nvSpPr>
          <p:spPr>
            <a:xfrm>
              <a:off x="5226398" y="6119522"/>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79" name="Freeform 5">
              <a:extLst>
                <a:ext uri="{FF2B5EF4-FFF2-40B4-BE49-F238E27FC236}">
                  <a16:creationId xmlns:a16="http://schemas.microsoft.com/office/drawing/2014/main" id="{73641526-9029-45F9-8458-B60ED5784188}"/>
                </a:ext>
              </a:extLst>
            </p:cNvPr>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FFFFFF"/>
            </a:solidFill>
            <a:ln>
              <a:noFill/>
            </a:ln>
          </p:spPr>
          <p:txBody>
            <a:bodyPr vert="horz" wrap="square" lIns="37351" tIns="37351" rIns="0" bIns="37351" numCol="1" anchor="t" anchorCtr="0" compatLnSpc="1">
              <a:prstTxWarp prst="textNoShape">
                <a:avLst/>
              </a:prstTxWarp>
            </a:bodyPr>
            <a:lstStyle/>
            <a:p>
              <a:pPr marL="0" marR="0" lvl="0" indent="0" defTabSz="761970"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prstClr val="black"/>
                </a:solidFill>
                <a:effectLst/>
                <a:uLnTx/>
                <a:uFillTx/>
                <a:latin typeface="Segoe UI"/>
              </a:endParaRPr>
            </a:p>
          </p:txBody>
        </p:sp>
        <p:sp>
          <p:nvSpPr>
            <p:cNvPr id="80" name="Rounded Rectangle 15">
              <a:extLst>
                <a:ext uri="{FF2B5EF4-FFF2-40B4-BE49-F238E27FC236}">
                  <a16:creationId xmlns:a16="http://schemas.microsoft.com/office/drawing/2014/main" id="{0EC49E4C-8505-460F-AD99-495AA9688CB6}"/>
                </a:ext>
              </a:extLst>
            </p:cNvPr>
            <p:cNvSpPr>
              <a:spLocks/>
            </p:cNvSpPr>
            <p:nvPr/>
          </p:nvSpPr>
          <p:spPr>
            <a:xfrm>
              <a:off x="5236532" y="6686824"/>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81" name="Rounded Rectangle 16">
              <a:extLst>
                <a:ext uri="{FF2B5EF4-FFF2-40B4-BE49-F238E27FC236}">
                  <a16:creationId xmlns:a16="http://schemas.microsoft.com/office/drawing/2014/main" id="{E8A2CB4A-D52F-4729-BC53-CEE66E8C6531}"/>
                </a:ext>
              </a:extLst>
            </p:cNvPr>
            <p:cNvSpPr>
              <a:spLocks/>
            </p:cNvSpPr>
            <p:nvPr/>
          </p:nvSpPr>
          <p:spPr>
            <a:xfrm>
              <a:off x="5946007" y="6112562"/>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grpSp>
          <p:nvGrpSpPr>
            <p:cNvPr id="82" name="Group 81">
              <a:extLst>
                <a:ext uri="{FF2B5EF4-FFF2-40B4-BE49-F238E27FC236}">
                  <a16:creationId xmlns:a16="http://schemas.microsoft.com/office/drawing/2014/main" id="{CF361ECE-73BE-4E95-9E7F-9A3197EF5DB8}"/>
                </a:ext>
              </a:extLst>
            </p:cNvPr>
            <p:cNvGrpSpPr/>
            <p:nvPr/>
          </p:nvGrpSpPr>
          <p:grpSpPr>
            <a:xfrm>
              <a:off x="6036098" y="6229818"/>
              <a:ext cx="545497" cy="343276"/>
              <a:chOff x="2769908" y="1409697"/>
              <a:chExt cx="1965320" cy="1055586"/>
            </a:xfrm>
            <a:solidFill>
              <a:srgbClr val="FFFFFF"/>
            </a:solidFill>
          </p:grpSpPr>
          <p:sp>
            <p:nvSpPr>
              <p:cNvPr id="119" name="Round Same Side Corner Rectangle 11">
                <a:extLst>
                  <a:ext uri="{FF2B5EF4-FFF2-40B4-BE49-F238E27FC236}">
                    <a16:creationId xmlns:a16="http://schemas.microsoft.com/office/drawing/2014/main" id="{60C42CC9-CF98-4A8C-8249-5C5CCF33D2F6}"/>
                  </a:ext>
                </a:extLst>
              </p:cNvPr>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37351" rIns="0" rtlCol="0" anchor="ctr"/>
              <a:lstStyle/>
              <a:p>
                <a:pPr marL="0" marR="0" lvl="0" indent="0" defTabSz="746958"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008272"/>
                  </a:solidFill>
                  <a:effectLst/>
                  <a:uLnTx/>
                  <a:uFillTx/>
                  <a:latin typeface="Segoe UI"/>
                </a:endParaRPr>
              </a:p>
            </p:txBody>
          </p:sp>
          <p:sp>
            <p:nvSpPr>
              <p:cNvPr id="120" name="Rounded Rectangle 223">
                <a:extLst>
                  <a:ext uri="{FF2B5EF4-FFF2-40B4-BE49-F238E27FC236}">
                    <a16:creationId xmlns:a16="http://schemas.microsoft.com/office/drawing/2014/main" id="{2CF6C5F1-4C01-4E9D-8B07-75E7F4CD4330}"/>
                  </a:ext>
                </a:extLst>
              </p:cNvPr>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ounded Rectangle 6">
                <a:extLst>
                  <a:ext uri="{FF2B5EF4-FFF2-40B4-BE49-F238E27FC236}">
                    <a16:creationId xmlns:a16="http://schemas.microsoft.com/office/drawing/2014/main" id="{460406C3-104B-4C94-A3B2-32289DE99676}"/>
                  </a:ext>
                </a:extLst>
              </p:cNvPr>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gradFill>
                    <a:gsLst>
                      <a:gs pos="0">
                        <a:srgbClr val="FFFFFF"/>
                      </a:gs>
                      <a:gs pos="100000">
                        <a:srgbClr val="FFFFFF"/>
                      </a:gs>
                    </a:gsLst>
                    <a:lin ang="5400000" scaled="0"/>
                  </a:gradFill>
                  <a:effectLst/>
                  <a:uLnTx/>
                  <a:uFillTx/>
                  <a:latin typeface="Segoe UI"/>
                </a:endParaRPr>
              </a:p>
            </p:txBody>
          </p:sp>
        </p:grpSp>
        <p:sp>
          <p:nvSpPr>
            <p:cNvPr id="83" name="Rounded Rectangle 18">
              <a:extLst>
                <a:ext uri="{FF2B5EF4-FFF2-40B4-BE49-F238E27FC236}">
                  <a16:creationId xmlns:a16="http://schemas.microsoft.com/office/drawing/2014/main" id="{320F6E58-E11F-46ED-9A84-B3C670331EAA}"/>
                </a:ext>
              </a:extLst>
            </p:cNvPr>
            <p:cNvSpPr>
              <a:spLocks/>
            </p:cNvSpPr>
            <p:nvPr/>
          </p:nvSpPr>
          <p:spPr>
            <a:xfrm>
              <a:off x="5950999" y="6678817"/>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84" name="Rounded Rectangle 19">
              <a:extLst>
                <a:ext uri="{FF2B5EF4-FFF2-40B4-BE49-F238E27FC236}">
                  <a16:creationId xmlns:a16="http://schemas.microsoft.com/office/drawing/2014/main" id="{407D6630-37D6-4F10-9BEE-FBFDBFBF9981}"/>
                </a:ext>
              </a:extLst>
            </p:cNvPr>
            <p:cNvSpPr>
              <a:spLocks/>
            </p:cNvSpPr>
            <p:nvPr/>
          </p:nvSpPr>
          <p:spPr>
            <a:xfrm>
              <a:off x="6668494" y="6119522"/>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85" name="Rounded Rectangle 20">
              <a:extLst>
                <a:ext uri="{FF2B5EF4-FFF2-40B4-BE49-F238E27FC236}">
                  <a16:creationId xmlns:a16="http://schemas.microsoft.com/office/drawing/2014/main" id="{FEA9C27A-0F7D-4DD6-A167-EEF687A58E1C}"/>
                </a:ext>
              </a:extLst>
            </p:cNvPr>
            <p:cNvSpPr>
              <a:spLocks/>
            </p:cNvSpPr>
            <p:nvPr/>
          </p:nvSpPr>
          <p:spPr>
            <a:xfrm>
              <a:off x="6678628" y="6686824"/>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86" name="Rounded Rectangle 21">
              <a:extLst>
                <a:ext uri="{FF2B5EF4-FFF2-40B4-BE49-F238E27FC236}">
                  <a16:creationId xmlns:a16="http://schemas.microsoft.com/office/drawing/2014/main" id="{DF8C5DA0-5D93-47FE-9775-1AFFC3C7B4D9}"/>
                </a:ext>
              </a:extLst>
            </p:cNvPr>
            <p:cNvSpPr>
              <a:spLocks/>
            </p:cNvSpPr>
            <p:nvPr/>
          </p:nvSpPr>
          <p:spPr>
            <a:xfrm>
              <a:off x="7393095" y="6678817"/>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87" name="Rounded Rectangle 22">
              <a:extLst>
                <a:ext uri="{FF2B5EF4-FFF2-40B4-BE49-F238E27FC236}">
                  <a16:creationId xmlns:a16="http://schemas.microsoft.com/office/drawing/2014/main" id="{1F626BAA-50C9-49C3-8C4F-A7F74635D100}"/>
                </a:ext>
              </a:extLst>
            </p:cNvPr>
            <p:cNvSpPr>
              <a:spLocks/>
            </p:cNvSpPr>
            <p:nvPr/>
          </p:nvSpPr>
          <p:spPr>
            <a:xfrm>
              <a:off x="8103190" y="6119522"/>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88" name="Rounded Rectangle 23">
              <a:extLst>
                <a:ext uri="{FF2B5EF4-FFF2-40B4-BE49-F238E27FC236}">
                  <a16:creationId xmlns:a16="http://schemas.microsoft.com/office/drawing/2014/main" id="{61EC5C0F-4FD0-4222-8B24-7350773D43CB}"/>
                </a:ext>
              </a:extLst>
            </p:cNvPr>
            <p:cNvSpPr>
              <a:spLocks/>
            </p:cNvSpPr>
            <p:nvPr/>
          </p:nvSpPr>
          <p:spPr>
            <a:xfrm>
              <a:off x="8113324" y="6686824"/>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89" name="Rounded Rectangle 24">
              <a:extLst>
                <a:ext uri="{FF2B5EF4-FFF2-40B4-BE49-F238E27FC236}">
                  <a16:creationId xmlns:a16="http://schemas.microsoft.com/office/drawing/2014/main" id="{F32F95E5-E099-4130-BDE1-7FC4754AA67C}"/>
                </a:ext>
              </a:extLst>
            </p:cNvPr>
            <p:cNvSpPr>
              <a:spLocks/>
            </p:cNvSpPr>
            <p:nvPr/>
          </p:nvSpPr>
          <p:spPr>
            <a:xfrm>
              <a:off x="8822799" y="6112562"/>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90" name="Rounded Rectangle 25">
              <a:extLst>
                <a:ext uri="{FF2B5EF4-FFF2-40B4-BE49-F238E27FC236}">
                  <a16:creationId xmlns:a16="http://schemas.microsoft.com/office/drawing/2014/main" id="{DBADEB12-5D13-4887-8331-B3911141D564}"/>
                </a:ext>
              </a:extLst>
            </p:cNvPr>
            <p:cNvSpPr>
              <a:spLocks/>
            </p:cNvSpPr>
            <p:nvPr/>
          </p:nvSpPr>
          <p:spPr>
            <a:xfrm>
              <a:off x="8827791" y="6678817"/>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91" name="Rounded Rectangle 26">
              <a:extLst>
                <a:ext uri="{FF2B5EF4-FFF2-40B4-BE49-F238E27FC236}">
                  <a16:creationId xmlns:a16="http://schemas.microsoft.com/office/drawing/2014/main" id="{023E8BB1-2E18-4196-B572-9280E1DC65D9}"/>
                </a:ext>
              </a:extLst>
            </p:cNvPr>
            <p:cNvSpPr>
              <a:spLocks/>
            </p:cNvSpPr>
            <p:nvPr/>
          </p:nvSpPr>
          <p:spPr>
            <a:xfrm>
              <a:off x="7393095" y="6119522"/>
              <a:ext cx="683019" cy="530467"/>
            </a:xfrm>
            <a:prstGeom prst="roundRect">
              <a:avLst>
                <a:gd name="adj" fmla="val 5758"/>
              </a:avLst>
            </a:prstGeom>
            <a:solidFill>
              <a:srgbClr val="50B347">
                <a:lumMod val="60000"/>
                <a:lumOff val="40000"/>
              </a:srgb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Segoe UI"/>
                  <a:ea typeface="+mn-ea"/>
                  <a:cs typeface="Arial"/>
                </a:rPr>
                <a:t>1</a:t>
              </a:r>
            </a:p>
          </p:txBody>
        </p:sp>
        <p:sp>
          <p:nvSpPr>
            <p:cNvPr id="92" name="Rounded Rectangle 18">
              <a:extLst>
                <a:ext uri="{FF2B5EF4-FFF2-40B4-BE49-F238E27FC236}">
                  <a16:creationId xmlns:a16="http://schemas.microsoft.com/office/drawing/2014/main" id="{E1055AF4-8611-4EC0-964D-1FC0E6B45F17}"/>
                </a:ext>
              </a:extLst>
            </p:cNvPr>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Freeform 28">
              <a:extLst>
                <a:ext uri="{FF2B5EF4-FFF2-40B4-BE49-F238E27FC236}">
                  <a16:creationId xmlns:a16="http://schemas.microsoft.com/office/drawing/2014/main" id="{95CA53F2-7D13-4C24-ADA1-B1E4ED268FE5}"/>
                </a:ext>
              </a:extLst>
            </p:cNvPr>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7351" tIns="119523" rIns="0" bIns="119523" numCol="1" spcCol="0" rtlCol="0" fromWordArt="0" anchor="t" anchorCtr="0" forceAA="0" compatLnSpc="1">
              <a:prstTxWarp prst="textNoShape">
                <a:avLst/>
              </a:prstTxWarp>
              <a:noAutofit/>
            </a:bodyPr>
            <a:lstStyle/>
            <a:p>
              <a:pPr marL="0" marR="0" lvl="0" indent="0" defTabSz="761721"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Freeform 67">
              <a:extLst>
                <a:ext uri="{FF2B5EF4-FFF2-40B4-BE49-F238E27FC236}">
                  <a16:creationId xmlns:a16="http://schemas.microsoft.com/office/drawing/2014/main" id="{2536EF32-26BC-4E0E-9A90-2B36B68A60A8}"/>
                </a:ext>
              </a:extLst>
            </p:cNvPr>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rgbClr val="FFFFFF"/>
            </a:solidFill>
            <a:ln w="12700" cap="flat" cmpd="sng" algn="ctr">
              <a:noFill/>
              <a:prstDash val="solid"/>
              <a:miter lim="800000"/>
            </a:ln>
            <a:effectLst/>
          </p:spPr>
          <p:txBody>
            <a:bodyPr wrap="square" lIns="37351" rIns="0" rtlCol="0" anchor="ctr">
              <a:noAutofit/>
            </a:bodyPr>
            <a:lstStyle/>
            <a:p>
              <a:pPr marL="0" marR="0" lvl="0" indent="0" defTabSz="761605"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505050"/>
                </a:solidFill>
                <a:effectLst/>
                <a:uLnTx/>
                <a:uFillTx/>
                <a:latin typeface="Segoe UI"/>
              </a:endParaRPr>
            </a:p>
          </p:txBody>
        </p:sp>
        <p:sp>
          <p:nvSpPr>
            <p:cNvPr id="95" name="Freeform 7">
              <a:extLst>
                <a:ext uri="{FF2B5EF4-FFF2-40B4-BE49-F238E27FC236}">
                  <a16:creationId xmlns:a16="http://schemas.microsoft.com/office/drawing/2014/main" id="{02CF45E9-53DF-41A1-A8F6-FB3AEB845B3D}"/>
                </a:ext>
              </a:extLst>
            </p:cNvPr>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solidFill>
                  <a:srgbClr val="008272"/>
                </a:solidFill>
                <a:effectLst/>
                <a:uLnTx/>
                <a:uFillTx/>
                <a:latin typeface="Segoe UI"/>
              </a:endParaRPr>
            </a:p>
          </p:txBody>
        </p:sp>
        <p:sp>
          <p:nvSpPr>
            <p:cNvPr id="96" name="Frame 5">
              <a:extLst>
                <a:ext uri="{FF2B5EF4-FFF2-40B4-BE49-F238E27FC236}">
                  <a16:creationId xmlns:a16="http://schemas.microsoft.com/office/drawing/2014/main" id="{2E02BCD0-0C83-43E0-B07E-D9F6CD559908}"/>
                </a:ext>
              </a:extLst>
            </p:cNvPr>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7351" tIns="43934" rIns="0" bIns="87868" numCol="1" spcCol="0" rtlCol="0" fromWordArt="0" anchor="b" anchorCtr="0" forceAA="0" compatLnSpc="1">
              <a:prstTxWarp prst="textNoShape">
                <a:avLst/>
              </a:prstTxWarp>
              <a:noAutofit/>
            </a:bodyPr>
            <a:lstStyle/>
            <a:p>
              <a:pPr marL="0" marR="0" lvl="0" indent="0" defTabSz="878234" eaLnBrk="1" fontAlgn="base" latinLnBrk="0" hangingPunct="1">
                <a:lnSpc>
                  <a:spcPct val="100000"/>
                </a:lnSpc>
                <a:spcBef>
                  <a:spcPct val="0"/>
                </a:spcBef>
                <a:spcAft>
                  <a:spcPct val="0"/>
                </a:spcAft>
                <a:buClrTx/>
                <a:buSzTx/>
                <a:buFontTx/>
                <a:buNone/>
                <a:tabLst/>
                <a:defRPr/>
              </a:pPr>
              <a:endParaRPr kumimoji="0" lang="en-US" sz="408" b="0" i="0" u="none" strike="noStrike" kern="0" cap="none" spc="-48"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Freeform 34">
              <a:extLst>
                <a:ext uri="{FF2B5EF4-FFF2-40B4-BE49-F238E27FC236}">
                  <a16:creationId xmlns:a16="http://schemas.microsoft.com/office/drawing/2014/main" id="{E260B5CB-BF4B-4B86-8C72-51F15B113899}"/>
                </a:ext>
              </a:extLst>
            </p:cNvPr>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endParaRPr>
            </a:p>
          </p:txBody>
        </p:sp>
        <p:sp>
          <p:nvSpPr>
            <p:cNvPr id="98" name="Freeform 53">
              <a:extLst>
                <a:ext uri="{FF2B5EF4-FFF2-40B4-BE49-F238E27FC236}">
                  <a16:creationId xmlns:a16="http://schemas.microsoft.com/office/drawing/2014/main" id="{A02C8381-D5C1-4F3F-9095-46BFBC0750BE}"/>
                </a:ext>
              </a:extLst>
            </p:cNvPr>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FFFFFF"/>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endParaRPr>
            </a:p>
          </p:txBody>
        </p:sp>
        <p:sp>
          <p:nvSpPr>
            <p:cNvPr id="99" name="Freeform 16">
              <a:extLst>
                <a:ext uri="{FF2B5EF4-FFF2-40B4-BE49-F238E27FC236}">
                  <a16:creationId xmlns:a16="http://schemas.microsoft.com/office/drawing/2014/main" id="{35A2C058-E3A4-4850-8D53-51FB18AA205B}"/>
                </a:ext>
              </a:extLst>
            </p:cNvPr>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FFFFFF"/>
            </a:solid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endParaRPr>
            </a:p>
          </p:txBody>
        </p:sp>
        <p:grpSp>
          <p:nvGrpSpPr>
            <p:cNvPr id="100" name="Group 99">
              <a:extLst>
                <a:ext uri="{FF2B5EF4-FFF2-40B4-BE49-F238E27FC236}">
                  <a16:creationId xmlns:a16="http://schemas.microsoft.com/office/drawing/2014/main" id="{928501C2-949D-43DB-A482-A676D1B84FD3}"/>
                </a:ext>
              </a:extLst>
            </p:cNvPr>
            <p:cNvGrpSpPr/>
            <p:nvPr/>
          </p:nvGrpSpPr>
          <p:grpSpPr>
            <a:xfrm>
              <a:off x="8305897" y="6746334"/>
              <a:ext cx="240369" cy="391933"/>
              <a:chOff x="8597110" y="4718972"/>
              <a:chExt cx="361215" cy="561776"/>
            </a:xfrm>
            <a:solidFill>
              <a:srgbClr val="FFFFFF"/>
            </a:solidFill>
          </p:grpSpPr>
          <p:sp>
            <p:nvSpPr>
              <p:cNvPr id="116" name="Freeform 68">
                <a:extLst>
                  <a:ext uri="{FF2B5EF4-FFF2-40B4-BE49-F238E27FC236}">
                    <a16:creationId xmlns:a16="http://schemas.microsoft.com/office/drawing/2014/main" id="{19E9FBFD-252C-44F2-A4F4-E3ADD8802365}"/>
                  </a:ext>
                </a:extLst>
              </p:cNvPr>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endParaRPr>
              </a:p>
            </p:txBody>
          </p:sp>
          <p:sp>
            <p:nvSpPr>
              <p:cNvPr id="117" name="Freeform 69">
                <a:extLst>
                  <a:ext uri="{FF2B5EF4-FFF2-40B4-BE49-F238E27FC236}">
                    <a16:creationId xmlns:a16="http://schemas.microsoft.com/office/drawing/2014/main" id="{9F83E5EF-0626-4FB7-B2D6-D5FB135E3CCD}"/>
                  </a:ext>
                </a:extLst>
              </p:cNvPr>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endParaRPr>
              </a:p>
            </p:txBody>
          </p:sp>
          <p:sp>
            <p:nvSpPr>
              <p:cNvPr id="118" name="Freeform 70">
                <a:extLst>
                  <a:ext uri="{FF2B5EF4-FFF2-40B4-BE49-F238E27FC236}">
                    <a16:creationId xmlns:a16="http://schemas.microsoft.com/office/drawing/2014/main" id="{96A40527-3E5A-4F4F-B815-D6F671B53322}"/>
                  </a:ext>
                </a:extLst>
              </p:cNvPr>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latin typeface="Segoe UI"/>
                  <a:ea typeface="MS PGothic" panose="020B0600070205080204" pitchFamily="34" charset="-128"/>
                </a:endParaRPr>
              </a:p>
            </p:txBody>
          </p:sp>
        </p:grpSp>
        <p:grpSp>
          <p:nvGrpSpPr>
            <p:cNvPr id="101" name="Group 100">
              <a:extLst>
                <a:ext uri="{FF2B5EF4-FFF2-40B4-BE49-F238E27FC236}">
                  <a16:creationId xmlns:a16="http://schemas.microsoft.com/office/drawing/2014/main" id="{2B123924-3FD1-4CCD-94ED-992792B0FC38}"/>
                </a:ext>
              </a:extLst>
            </p:cNvPr>
            <p:cNvGrpSpPr/>
            <p:nvPr/>
          </p:nvGrpSpPr>
          <p:grpSpPr>
            <a:xfrm>
              <a:off x="8956831" y="6763755"/>
              <a:ext cx="471736" cy="351615"/>
              <a:chOff x="4746174" y="1443592"/>
              <a:chExt cx="4626425" cy="3905619"/>
            </a:xfrm>
            <a:solidFill>
              <a:srgbClr val="FFFFFF"/>
            </a:solidFill>
          </p:grpSpPr>
          <p:grpSp>
            <p:nvGrpSpPr>
              <p:cNvPr id="102" name="Group 386">
                <a:extLst>
                  <a:ext uri="{FF2B5EF4-FFF2-40B4-BE49-F238E27FC236}">
                    <a16:creationId xmlns:a16="http://schemas.microsoft.com/office/drawing/2014/main" id="{C10F36A5-E975-444F-8646-CE8DDE7E38E1}"/>
                  </a:ext>
                </a:extLst>
              </p:cNvPr>
              <p:cNvGrpSpPr>
                <a:grpSpLocks noChangeAspect="1"/>
              </p:cNvGrpSpPr>
              <p:nvPr/>
            </p:nvGrpSpPr>
            <p:grpSpPr bwMode="auto">
              <a:xfrm>
                <a:off x="4746174" y="2973316"/>
                <a:ext cx="1414644" cy="2318435"/>
                <a:chOff x="-1261" y="1888"/>
                <a:chExt cx="576" cy="944"/>
              </a:xfrm>
              <a:grpFill/>
            </p:grpSpPr>
            <p:sp>
              <p:nvSpPr>
                <p:cNvPr id="113" name="Freeform 387">
                  <a:extLst>
                    <a:ext uri="{FF2B5EF4-FFF2-40B4-BE49-F238E27FC236}">
                      <a16:creationId xmlns:a16="http://schemas.microsoft.com/office/drawing/2014/main" id="{D051F455-5569-448E-949B-3FAA381764BA}"/>
                    </a:ext>
                  </a:extLst>
                </p:cNvPr>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14" name="Freeform 388">
                  <a:extLst>
                    <a:ext uri="{FF2B5EF4-FFF2-40B4-BE49-F238E27FC236}">
                      <a16:creationId xmlns:a16="http://schemas.microsoft.com/office/drawing/2014/main" id="{67FD12DD-CE49-4132-8818-A7FBB1399199}"/>
                    </a:ext>
                  </a:extLst>
                </p:cNvPr>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115" name="Freeform 389">
                  <a:extLst>
                    <a:ext uri="{FF2B5EF4-FFF2-40B4-BE49-F238E27FC236}">
                      <a16:creationId xmlns:a16="http://schemas.microsoft.com/office/drawing/2014/main" id="{1A9E1BC5-EC5B-4835-9C22-DC35E557CCFF}"/>
                    </a:ext>
                  </a:extLst>
                </p:cNvPr>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grpSp>
          <p:grpSp>
            <p:nvGrpSpPr>
              <p:cNvPr id="103" name="Group 102">
                <a:extLst>
                  <a:ext uri="{FF2B5EF4-FFF2-40B4-BE49-F238E27FC236}">
                    <a16:creationId xmlns:a16="http://schemas.microsoft.com/office/drawing/2014/main" id="{F1DCC98F-5E81-4FB2-83AA-0CB075ED669C}"/>
                  </a:ext>
                </a:extLst>
              </p:cNvPr>
              <p:cNvGrpSpPr/>
              <p:nvPr/>
            </p:nvGrpSpPr>
            <p:grpSpPr>
              <a:xfrm>
                <a:off x="5345484" y="1443592"/>
                <a:ext cx="1381398" cy="1269128"/>
                <a:chOff x="5345480" y="1443592"/>
                <a:chExt cx="1381394" cy="1269128"/>
              </a:xfrm>
              <a:grpFill/>
            </p:grpSpPr>
            <p:sp>
              <p:nvSpPr>
                <p:cNvPr id="111" name="Bent Arrow 53">
                  <a:extLst>
                    <a:ext uri="{FF2B5EF4-FFF2-40B4-BE49-F238E27FC236}">
                      <a16:creationId xmlns:a16="http://schemas.microsoft.com/office/drawing/2014/main" id="{356035D7-B76E-4D8B-816A-AE6CC08F3AAD}"/>
                    </a:ext>
                  </a:extLst>
                </p:cNvPr>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Isosceles Triangle 111">
                  <a:extLst>
                    <a:ext uri="{FF2B5EF4-FFF2-40B4-BE49-F238E27FC236}">
                      <a16:creationId xmlns:a16="http://schemas.microsoft.com/office/drawing/2014/main" id="{6FF24695-9E27-491C-B31B-3FE258164A78}"/>
                    </a:ext>
                  </a:extLst>
                </p:cNvPr>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4" name="Group 103">
                <a:extLst>
                  <a:ext uri="{FF2B5EF4-FFF2-40B4-BE49-F238E27FC236}">
                    <a16:creationId xmlns:a16="http://schemas.microsoft.com/office/drawing/2014/main" id="{A63B9D48-4F7F-4ECE-B33B-DAE1F8D022EA}"/>
                  </a:ext>
                </a:extLst>
              </p:cNvPr>
              <p:cNvGrpSpPr/>
              <p:nvPr/>
            </p:nvGrpSpPr>
            <p:grpSpPr>
              <a:xfrm rot="10800000">
                <a:off x="7049746" y="4080083"/>
                <a:ext cx="1381398" cy="1269128"/>
                <a:chOff x="5345480" y="1443592"/>
                <a:chExt cx="1381394" cy="1269128"/>
              </a:xfrm>
              <a:grpFill/>
            </p:grpSpPr>
            <p:sp>
              <p:nvSpPr>
                <p:cNvPr id="109" name="Bent Arrow 51">
                  <a:extLst>
                    <a:ext uri="{FF2B5EF4-FFF2-40B4-BE49-F238E27FC236}">
                      <a16:creationId xmlns:a16="http://schemas.microsoft.com/office/drawing/2014/main" id="{56B56AEB-EC13-4CB0-93CB-7DF5B90E7763}"/>
                    </a:ext>
                  </a:extLst>
                </p:cNvPr>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Isosceles Triangle 109">
                  <a:extLst>
                    <a:ext uri="{FF2B5EF4-FFF2-40B4-BE49-F238E27FC236}">
                      <a16:creationId xmlns:a16="http://schemas.microsoft.com/office/drawing/2014/main" id="{8A01DA95-16BA-454F-87E2-D1605387AC1B}"/>
                    </a:ext>
                  </a:extLst>
                </p:cNvPr>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5" name="Freeform 47">
                <a:extLst>
                  <a:ext uri="{FF2B5EF4-FFF2-40B4-BE49-F238E27FC236}">
                    <a16:creationId xmlns:a16="http://schemas.microsoft.com/office/drawing/2014/main" id="{E44C8FDD-A30D-4DFD-9D9F-428D5419DFF6}"/>
                  </a:ext>
                </a:extLst>
              </p:cNvPr>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D5A7BB7A-2839-4A76-9E8A-563545E0DA1E}"/>
                  </a:ext>
                </a:extLst>
              </p:cNvPr>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853F33EF-87CF-4326-87CB-C0C193092D5F}"/>
                  </a:ext>
                </a:extLst>
              </p:cNvPr>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FE474EC3-0957-4A63-8DA6-7330C9AEA853}"/>
                  </a:ext>
                </a:extLst>
              </p:cNvPr>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22" name="TextBox 121">
            <a:extLst>
              <a:ext uri="{FF2B5EF4-FFF2-40B4-BE49-F238E27FC236}">
                <a16:creationId xmlns:a16="http://schemas.microsoft.com/office/drawing/2014/main" id="{280CB5C7-76C8-4798-A059-62D9C4DFBACD}"/>
              </a:ext>
            </a:extLst>
          </p:cNvPr>
          <p:cNvSpPr txBox="1"/>
          <p:nvPr/>
        </p:nvSpPr>
        <p:spPr>
          <a:xfrm>
            <a:off x="5344323" y="4474677"/>
            <a:ext cx="1452708" cy="451342"/>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33"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Store</a:t>
            </a:r>
          </a:p>
        </p:txBody>
      </p:sp>
      <p:cxnSp>
        <p:nvCxnSpPr>
          <p:cNvPr id="123" name="Straight Connector 122">
            <a:extLst>
              <a:ext uri="{FF2B5EF4-FFF2-40B4-BE49-F238E27FC236}">
                <a16:creationId xmlns:a16="http://schemas.microsoft.com/office/drawing/2014/main" id="{249AE2B8-7B94-480D-A591-D94ED4DB21DF}"/>
              </a:ext>
            </a:extLst>
          </p:cNvPr>
          <p:cNvCxnSpPr/>
          <p:nvPr/>
        </p:nvCxnSpPr>
        <p:spPr>
          <a:xfrm>
            <a:off x="6120722" y="1616283"/>
            <a:ext cx="0" cy="1801719"/>
          </a:xfrm>
          <a:prstGeom prst="line">
            <a:avLst/>
          </a:prstGeom>
          <a:noFill/>
          <a:ln w="9525" cap="flat" cmpd="sng" algn="ctr">
            <a:solidFill>
              <a:srgbClr val="FFFFFF"/>
            </a:solidFill>
            <a:prstDash val="solid"/>
            <a:headEnd type="none"/>
            <a:tailEnd type="none"/>
          </a:ln>
          <a:effectLst/>
        </p:spPr>
      </p:cxnSp>
      <p:grpSp>
        <p:nvGrpSpPr>
          <p:cNvPr id="124" name="Group 123">
            <a:extLst>
              <a:ext uri="{FF2B5EF4-FFF2-40B4-BE49-F238E27FC236}">
                <a16:creationId xmlns:a16="http://schemas.microsoft.com/office/drawing/2014/main" id="{F023AB1D-56F0-4951-A56B-7501ED849A5B}"/>
              </a:ext>
            </a:extLst>
          </p:cNvPr>
          <p:cNvGrpSpPr/>
          <p:nvPr/>
        </p:nvGrpSpPr>
        <p:grpSpPr>
          <a:xfrm>
            <a:off x="2873440" y="2278314"/>
            <a:ext cx="545948" cy="544441"/>
            <a:chOff x="2148168" y="645460"/>
            <a:chExt cx="2587625" cy="2576512"/>
          </a:xfrm>
        </p:grpSpPr>
        <p:sp>
          <p:nvSpPr>
            <p:cNvPr id="125" name="Freeform 19">
              <a:extLst>
                <a:ext uri="{FF2B5EF4-FFF2-40B4-BE49-F238E27FC236}">
                  <a16:creationId xmlns:a16="http://schemas.microsoft.com/office/drawing/2014/main" id="{7CA549C7-EE81-46E2-A527-8F70D2E7E8EE}"/>
                </a:ext>
              </a:extLst>
            </p:cNvPr>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26" name="Freeform 20">
              <a:extLst>
                <a:ext uri="{FF2B5EF4-FFF2-40B4-BE49-F238E27FC236}">
                  <a16:creationId xmlns:a16="http://schemas.microsoft.com/office/drawing/2014/main" id="{7D89CBC0-0128-4F49-BC39-85EAE5D7EFAC}"/>
                </a:ext>
              </a:extLst>
            </p:cNvPr>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27" name="Freeform 21">
              <a:extLst>
                <a:ext uri="{FF2B5EF4-FFF2-40B4-BE49-F238E27FC236}">
                  <a16:creationId xmlns:a16="http://schemas.microsoft.com/office/drawing/2014/main" id="{5AA28BD2-179A-4C36-8192-087BEAA176B4}"/>
                </a:ext>
              </a:extLst>
            </p:cNvPr>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28" name="Freeform 22">
              <a:extLst>
                <a:ext uri="{FF2B5EF4-FFF2-40B4-BE49-F238E27FC236}">
                  <a16:creationId xmlns:a16="http://schemas.microsoft.com/office/drawing/2014/main" id="{60F83CBC-3DA9-455F-8AAC-E716E7471351}"/>
                </a:ext>
              </a:extLst>
            </p:cNvPr>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29" name="Freeform 23">
              <a:extLst>
                <a:ext uri="{FF2B5EF4-FFF2-40B4-BE49-F238E27FC236}">
                  <a16:creationId xmlns:a16="http://schemas.microsoft.com/office/drawing/2014/main" id="{BD045BFE-D1D3-4A92-987D-B9FE41B3388D}"/>
                </a:ext>
              </a:extLst>
            </p:cNvPr>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0" name="Freeform 24">
              <a:extLst>
                <a:ext uri="{FF2B5EF4-FFF2-40B4-BE49-F238E27FC236}">
                  <a16:creationId xmlns:a16="http://schemas.microsoft.com/office/drawing/2014/main" id="{08D50A02-8A2C-4D4B-B10E-EA7EA6916F48}"/>
                </a:ext>
              </a:extLst>
            </p:cNvPr>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1" name="Freeform 25">
              <a:extLst>
                <a:ext uri="{FF2B5EF4-FFF2-40B4-BE49-F238E27FC236}">
                  <a16:creationId xmlns:a16="http://schemas.microsoft.com/office/drawing/2014/main" id="{C29332BC-21B9-4ED1-8647-E7FD1E341335}"/>
                </a:ext>
              </a:extLst>
            </p:cNvPr>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grpSp>
        <p:nvGrpSpPr>
          <p:cNvPr id="132" name="Group 131">
            <a:extLst>
              <a:ext uri="{FF2B5EF4-FFF2-40B4-BE49-F238E27FC236}">
                <a16:creationId xmlns:a16="http://schemas.microsoft.com/office/drawing/2014/main" id="{09ED751E-6C0F-45A5-8D74-D91C04C272CA}"/>
              </a:ext>
            </a:extLst>
          </p:cNvPr>
          <p:cNvGrpSpPr/>
          <p:nvPr/>
        </p:nvGrpSpPr>
        <p:grpSpPr>
          <a:xfrm>
            <a:off x="6642482" y="2294351"/>
            <a:ext cx="2535029" cy="514808"/>
            <a:chOff x="6643948" y="2257161"/>
            <a:chExt cx="2535029" cy="514808"/>
          </a:xfrm>
        </p:grpSpPr>
        <p:pic>
          <p:nvPicPr>
            <p:cNvPr id="133" name="Picture 132">
              <a:extLst>
                <a:ext uri="{FF2B5EF4-FFF2-40B4-BE49-F238E27FC236}">
                  <a16:creationId xmlns:a16="http://schemas.microsoft.com/office/drawing/2014/main" id="{8053B40D-C12D-42CA-9E0F-698F65EFB94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43948" y="2257161"/>
              <a:ext cx="500430" cy="514808"/>
            </a:xfrm>
            <a:prstGeom prst="rect">
              <a:avLst/>
            </a:prstGeom>
            <a:ln>
              <a:noFill/>
            </a:ln>
          </p:spPr>
        </p:pic>
        <p:pic>
          <p:nvPicPr>
            <p:cNvPr id="134" name="Picture 133">
              <a:extLst>
                <a:ext uri="{FF2B5EF4-FFF2-40B4-BE49-F238E27FC236}">
                  <a16:creationId xmlns:a16="http://schemas.microsoft.com/office/drawing/2014/main" id="{7C207921-FF90-4D57-934B-EC085B73DCD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82217" y="2355961"/>
              <a:ext cx="676962" cy="317207"/>
            </a:xfrm>
            <a:prstGeom prst="rect">
              <a:avLst/>
            </a:prstGeom>
            <a:noFill/>
            <a:ln>
              <a:noFill/>
            </a:ln>
          </p:spPr>
        </p:pic>
        <p:pic>
          <p:nvPicPr>
            <p:cNvPr id="135" name="Picture 134">
              <a:extLst>
                <a:ext uri="{FF2B5EF4-FFF2-40B4-BE49-F238E27FC236}">
                  <a16:creationId xmlns:a16="http://schemas.microsoft.com/office/drawing/2014/main" id="{D53819D9-8963-4ADE-8906-DA4998F9836A}"/>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243410" y="2408469"/>
              <a:ext cx="935567" cy="323045"/>
            </a:xfrm>
            <a:prstGeom prst="rect">
              <a:avLst/>
            </a:prstGeom>
          </p:spPr>
        </p:pic>
      </p:grpSp>
    </p:spTree>
    <p:extLst>
      <p:ext uri="{BB962C8B-B14F-4D97-AF65-F5344CB8AC3E}">
        <p14:creationId xmlns:p14="http://schemas.microsoft.com/office/powerpoint/2010/main" val="2289031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23DC0-E103-44CA-AC4E-EB909CEB5711}"/>
              </a:ext>
            </a:extLst>
          </p:cNvPr>
          <p:cNvSpPr>
            <a:spLocks noGrp="1"/>
          </p:cNvSpPr>
          <p:nvPr>
            <p:ph type="title"/>
          </p:nvPr>
        </p:nvSpPr>
        <p:spPr/>
        <p:txBody>
          <a:bodyPr/>
          <a:lstStyle/>
          <a:p>
            <a:r>
              <a:rPr lang="en-US" dirty="0"/>
              <a:t>Azure SQL Data Warehouse</a:t>
            </a:r>
          </a:p>
        </p:txBody>
      </p:sp>
      <p:sp>
        <p:nvSpPr>
          <p:cNvPr id="3" name="Content Placeholder 2">
            <a:extLst>
              <a:ext uri="{FF2B5EF4-FFF2-40B4-BE49-F238E27FC236}">
                <a16:creationId xmlns:a16="http://schemas.microsoft.com/office/drawing/2014/main" id="{B35D1810-B955-45F4-A5F1-2B3486D0D5D0}"/>
              </a:ext>
            </a:extLst>
          </p:cNvPr>
          <p:cNvSpPr>
            <a:spLocks noGrp="1"/>
          </p:cNvSpPr>
          <p:nvPr>
            <p:ph sz="quarter" idx="10"/>
          </p:nvPr>
        </p:nvSpPr>
        <p:spPr/>
        <p:txBody>
          <a:bodyPr/>
          <a:lstStyle/>
          <a:p>
            <a:r>
              <a:rPr lang="en-US" dirty="0"/>
              <a:t>Traditional batch data warehousing workloads</a:t>
            </a:r>
          </a:p>
          <a:p>
            <a:r>
              <a:rPr lang="en-US" dirty="0"/>
              <a:t>Data warehouse as a service with a Massively Parallel Processing architecture</a:t>
            </a:r>
          </a:p>
          <a:p>
            <a:r>
              <a:rPr lang="en-US" dirty="0"/>
              <a:t>Elastic storage and compute</a:t>
            </a:r>
          </a:p>
          <a:p>
            <a:r>
              <a:rPr lang="en-US" dirty="0"/>
              <a:t>Query data from data lakes store or blob storage using </a:t>
            </a:r>
            <a:r>
              <a:rPr lang="en-US" dirty="0" err="1"/>
              <a:t>Polybase</a:t>
            </a:r>
            <a:endParaRPr lang="en-US" dirty="0"/>
          </a:p>
          <a:p>
            <a:endParaRPr lang="en-US" dirty="0"/>
          </a:p>
        </p:txBody>
      </p:sp>
    </p:spTree>
    <p:extLst>
      <p:ext uri="{BB962C8B-B14F-4D97-AF65-F5344CB8AC3E}">
        <p14:creationId xmlns:p14="http://schemas.microsoft.com/office/powerpoint/2010/main" val="1327634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1B9DB-8F19-4648-8356-4F7A7E40C2E5}"/>
              </a:ext>
            </a:extLst>
          </p:cNvPr>
          <p:cNvSpPr>
            <a:spLocks noGrp="1"/>
          </p:cNvSpPr>
          <p:nvPr>
            <p:ph type="title"/>
          </p:nvPr>
        </p:nvSpPr>
        <p:spPr/>
        <p:txBody>
          <a:bodyPr/>
          <a:lstStyle/>
          <a:p>
            <a:r>
              <a:rPr lang="en-US" dirty="0"/>
              <a:t>MPP architecture - Concepts</a:t>
            </a:r>
          </a:p>
        </p:txBody>
      </p:sp>
      <p:sp>
        <p:nvSpPr>
          <p:cNvPr id="3" name="Content Placeholder 2">
            <a:extLst>
              <a:ext uri="{FF2B5EF4-FFF2-40B4-BE49-F238E27FC236}">
                <a16:creationId xmlns:a16="http://schemas.microsoft.com/office/drawing/2014/main" id="{5C335D36-0119-4D1F-A0EA-37E71910B45A}"/>
              </a:ext>
            </a:extLst>
          </p:cNvPr>
          <p:cNvSpPr>
            <a:spLocks noGrp="1"/>
          </p:cNvSpPr>
          <p:nvPr>
            <p:ph sz="quarter" idx="10"/>
          </p:nvPr>
        </p:nvSpPr>
        <p:spPr/>
        <p:txBody>
          <a:bodyPr/>
          <a:lstStyle/>
          <a:p>
            <a:pPr marL="342900" indent="-342900">
              <a:buFont typeface="Wingdings" panose="05000000000000000000" pitchFamily="2" charset="2"/>
              <a:buChar char="§"/>
            </a:pPr>
            <a:r>
              <a:rPr lang="en-US" sz="2400" b="1" i="1" dirty="0"/>
              <a:t>M</a:t>
            </a:r>
            <a:r>
              <a:rPr lang="en-US" sz="2400" i="1" dirty="0"/>
              <a:t>assively </a:t>
            </a:r>
            <a:r>
              <a:rPr lang="en-US" sz="2400" b="1" i="1" dirty="0"/>
              <a:t>P</a:t>
            </a:r>
            <a:r>
              <a:rPr lang="en-US" sz="2400" i="1" dirty="0"/>
              <a:t>arallel </a:t>
            </a:r>
            <a:r>
              <a:rPr lang="en-US" sz="2400" b="1" i="1" dirty="0"/>
              <a:t>P</a:t>
            </a:r>
            <a:r>
              <a:rPr lang="en-US" sz="2400" i="1" dirty="0"/>
              <a:t>rocessing</a:t>
            </a:r>
          </a:p>
          <a:p>
            <a:pPr marL="342900" indent="-342900">
              <a:buFont typeface="Wingdings" panose="05000000000000000000" pitchFamily="2" charset="2"/>
              <a:buChar char="§"/>
            </a:pPr>
            <a:r>
              <a:rPr lang="en-US" sz="2400" i="1" dirty="0"/>
              <a:t>A divide and conquer, </a:t>
            </a:r>
            <a:r>
              <a:rPr lang="en-US" sz="2400" b="1" i="1" dirty="0"/>
              <a:t>distributed computing </a:t>
            </a:r>
            <a:r>
              <a:rPr lang="en-US" sz="2400" i="1" dirty="0"/>
              <a:t>strategy</a:t>
            </a:r>
          </a:p>
          <a:p>
            <a:pPr marL="342900" indent="-342900">
              <a:buFont typeface="Wingdings" panose="05000000000000000000" pitchFamily="2" charset="2"/>
              <a:buChar char="§"/>
            </a:pPr>
            <a:r>
              <a:rPr lang="en-US" sz="2400" b="1" i="1" dirty="0"/>
              <a:t>Shared Nothing</a:t>
            </a:r>
            <a:r>
              <a:rPr lang="en-US" sz="2400" i="1" dirty="0"/>
              <a:t> architecture</a:t>
            </a:r>
          </a:p>
          <a:p>
            <a:pPr marL="342900" indent="-342900">
              <a:buFont typeface="Wingdings" panose="05000000000000000000" pitchFamily="2" charset="2"/>
              <a:buChar char="§"/>
            </a:pPr>
            <a:r>
              <a:rPr lang="en-US" sz="2400" i="1" dirty="0"/>
              <a:t>Scale-out architecture (versus scale-up)</a:t>
            </a:r>
          </a:p>
          <a:p>
            <a:pPr marL="342900" indent="-342900">
              <a:buFont typeface="Wingdings" panose="05000000000000000000" pitchFamily="2" charset="2"/>
              <a:buChar char="§"/>
            </a:pPr>
            <a:r>
              <a:rPr lang="en-US" sz="2400" i="1" dirty="0"/>
              <a:t>Take one big problem &amp; break it up &amp; execute it individually</a:t>
            </a:r>
          </a:p>
          <a:p>
            <a:pPr marL="342900" indent="-342900">
              <a:buFont typeface="Wingdings" panose="05000000000000000000" pitchFamily="2" charset="2"/>
              <a:buChar char="§"/>
            </a:pPr>
            <a:r>
              <a:rPr lang="en-US" sz="2400" i="1" dirty="0"/>
              <a:t>Team approach “Many hands make light work”	</a:t>
            </a:r>
          </a:p>
          <a:p>
            <a:pPr marL="342900" indent="-342900">
              <a:buFont typeface="Wingdings" panose="05000000000000000000" pitchFamily="2" charset="2"/>
              <a:buChar char="§"/>
            </a:pPr>
            <a:r>
              <a:rPr lang="en-US" sz="2400" i="1" dirty="0"/>
              <a:t>Multiple machines (RAM, CPU, Storage) with high bandwidth for single task</a:t>
            </a:r>
          </a:p>
          <a:p>
            <a:pPr marL="342900" indent="-342900">
              <a:buFont typeface="Wingdings" panose="05000000000000000000" pitchFamily="2" charset="2"/>
              <a:buChar char="§"/>
            </a:pPr>
            <a:r>
              <a:rPr lang="en-US" sz="2400" i="1" dirty="0"/>
              <a:t>Codeless parallel processing</a:t>
            </a:r>
          </a:p>
          <a:p>
            <a:pPr marL="342900" indent="-342900">
              <a:buFont typeface="Wingdings" panose="05000000000000000000" pitchFamily="2" charset="2"/>
              <a:buChar char="§"/>
            </a:pPr>
            <a:r>
              <a:rPr lang="en-US" sz="2400" i="1" dirty="0"/>
              <a:t>Best suited for large data processing</a:t>
            </a:r>
            <a:endParaRPr lang="en-US" sz="2400" dirty="0"/>
          </a:p>
        </p:txBody>
      </p:sp>
    </p:spTree>
    <p:extLst>
      <p:ext uri="{BB962C8B-B14F-4D97-AF65-F5344CB8AC3E}">
        <p14:creationId xmlns:p14="http://schemas.microsoft.com/office/powerpoint/2010/main" val="7186889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Right Arrow 86">
            <a:extLst>
              <a:ext uri="{FF2B5EF4-FFF2-40B4-BE49-F238E27FC236}">
                <a16:creationId xmlns:a16="http://schemas.microsoft.com/office/drawing/2014/main" id="{766AA8F2-DC36-469A-B6D6-0AB5AE414AB2}"/>
              </a:ext>
            </a:extLst>
          </p:cNvPr>
          <p:cNvSpPr/>
          <p:nvPr/>
        </p:nvSpPr>
        <p:spPr>
          <a:xfrm>
            <a:off x="1886551" y="5468302"/>
            <a:ext cx="7122695" cy="921719"/>
          </a:xfrm>
          <a:prstGeom prst="rightArrow">
            <a:avLst/>
          </a:prstGeom>
          <a:solidFill>
            <a:srgbClr val="D2D2D2">
              <a:shade val="80000"/>
              <a:satMod val="180000"/>
            </a:srgbClr>
          </a:solidFill>
          <a:ln>
            <a:solidFill>
              <a:srgbClr val="505050">
                <a:lumMod val="20000"/>
                <a:lumOff val="80000"/>
              </a:srgbClr>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a:ea typeface="+mn-ea"/>
              <a:cs typeface="+mn-cs"/>
            </a:endParaRPr>
          </a:p>
        </p:txBody>
      </p:sp>
      <p:sp>
        <p:nvSpPr>
          <p:cNvPr id="244" name="Bent Arrow 99">
            <a:extLst>
              <a:ext uri="{FF2B5EF4-FFF2-40B4-BE49-F238E27FC236}">
                <a16:creationId xmlns:a16="http://schemas.microsoft.com/office/drawing/2014/main" id="{D081CACC-D13A-4BE6-BCCA-426CCDBB6E13}"/>
              </a:ext>
            </a:extLst>
          </p:cNvPr>
          <p:cNvSpPr/>
          <p:nvPr/>
        </p:nvSpPr>
        <p:spPr>
          <a:xfrm rot="10800000" flipH="1">
            <a:off x="791487" y="2366845"/>
            <a:ext cx="1020748" cy="3516546"/>
          </a:xfrm>
          <a:prstGeom prst="bentArrow">
            <a:avLst/>
          </a:prstGeom>
          <a:solidFill>
            <a:srgbClr val="D2D2D2">
              <a:shade val="80000"/>
              <a:satMod val="180000"/>
            </a:srgbClr>
          </a:solidFill>
          <a:ln>
            <a:solidFill>
              <a:srgbClr val="505050">
                <a:lumMod val="20000"/>
                <a:lumOff val="80000"/>
              </a:srgbClr>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a:ea typeface="+mn-ea"/>
              <a:cs typeface="+mn-cs"/>
            </a:endParaRPr>
          </a:p>
        </p:txBody>
      </p:sp>
      <p:sp>
        <p:nvSpPr>
          <p:cNvPr id="245" name="Right Arrow 98">
            <a:extLst>
              <a:ext uri="{FF2B5EF4-FFF2-40B4-BE49-F238E27FC236}">
                <a16:creationId xmlns:a16="http://schemas.microsoft.com/office/drawing/2014/main" id="{925180A8-FC37-48D9-A504-BDAA9B476A51}"/>
              </a:ext>
            </a:extLst>
          </p:cNvPr>
          <p:cNvSpPr/>
          <p:nvPr/>
        </p:nvSpPr>
        <p:spPr>
          <a:xfrm>
            <a:off x="1681321" y="2216224"/>
            <a:ext cx="1395790" cy="429922"/>
          </a:xfrm>
          <a:prstGeom prst="rightArrow">
            <a:avLst/>
          </a:prstGeom>
          <a:solidFill>
            <a:srgbClr val="D2D2D2">
              <a:shade val="80000"/>
              <a:satMod val="180000"/>
            </a:srgbClr>
          </a:solidFill>
          <a:ln>
            <a:solidFill>
              <a:srgbClr val="505050">
                <a:lumMod val="20000"/>
                <a:lumOff val="80000"/>
              </a:srgbClr>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a:ea typeface="+mn-ea"/>
              <a:cs typeface="+mn-cs"/>
            </a:endParaRPr>
          </a:p>
        </p:txBody>
      </p:sp>
      <p:sp>
        <p:nvSpPr>
          <p:cNvPr id="246" name="Right Arrow 95">
            <a:extLst>
              <a:ext uri="{FF2B5EF4-FFF2-40B4-BE49-F238E27FC236}">
                <a16:creationId xmlns:a16="http://schemas.microsoft.com/office/drawing/2014/main" id="{67FE9A3A-A925-4501-8288-49D81776E62E}"/>
              </a:ext>
            </a:extLst>
          </p:cNvPr>
          <p:cNvSpPr/>
          <p:nvPr/>
        </p:nvSpPr>
        <p:spPr>
          <a:xfrm>
            <a:off x="1718959" y="1425305"/>
            <a:ext cx="1395790" cy="429922"/>
          </a:xfrm>
          <a:prstGeom prst="rightArrow">
            <a:avLst/>
          </a:prstGeom>
          <a:solidFill>
            <a:srgbClr val="D83B01">
              <a:lumMod val="60000"/>
              <a:lumOff val="40000"/>
            </a:srgbClr>
          </a:solidFill>
          <a:ln w="10795" cap="flat" cmpd="sng" algn="ctr">
            <a:solidFill>
              <a:srgbClr val="D83B0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47" name="Right Arrow 89">
            <a:extLst>
              <a:ext uri="{FF2B5EF4-FFF2-40B4-BE49-F238E27FC236}">
                <a16:creationId xmlns:a16="http://schemas.microsoft.com/office/drawing/2014/main" id="{2A705551-25CE-4C31-A553-902AF9E91C3C}"/>
              </a:ext>
            </a:extLst>
          </p:cNvPr>
          <p:cNvSpPr/>
          <p:nvPr/>
        </p:nvSpPr>
        <p:spPr>
          <a:xfrm rot="10800000">
            <a:off x="6870081" y="3031757"/>
            <a:ext cx="3361574" cy="921719"/>
          </a:xfrm>
          <a:prstGeom prst="rightArrow">
            <a:avLst/>
          </a:prstGeom>
          <a:solidFill>
            <a:srgbClr val="D83B01">
              <a:lumMod val="60000"/>
              <a:lumOff val="40000"/>
            </a:srgbClr>
          </a:solidFill>
          <a:ln w="10795" cap="flat" cmpd="sng" algn="ctr">
            <a:solidFill>
              <a:srgbClr val="D83B0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48" name="Right Arrow 85">
            <a:extLst>
              <a:ext uri="{FF2B5EF4-FFF2-40B4-BE49-F238E27FC236}">
                <a16:creationId xmlns:a16="http://schemas.microsoft.com/office/drawing/2014/main" id="{62A6DA8A-AE82-46F2-9715-6BC01D21D815}"/>
              </a:ext>
            </a:extLst>
          </p:cNvPr>
          <p:cNvSpPr/>
          <p:nvPr/>
        </p:nvSpPr>
        <p:spPr>
          <a:xfrm>
            <a:off x="1886551" y="3727514"/>
            <a:ext cx="7122695" cy="921719"/>
          </a:xfrm>
          <a:prstGeom prst="rightArrow">
            <a:avLst/>
          </a:prstGeom>
          <a:solidFill>
            <a:srgbClr val="D83B01">
              <a:lumMod val="60000"/>
              <a:lumOff val="40000"/>
            </a:srgbClr>
          </a:solidFill>
          <a:ln w="10795" cap="flat" cmpd="sng" algn="ctr">
            <a:solidFill>
              <a:srgbClr val="D83B0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49" name="Freeform 62">
            <a:extLst>
              <a:ext uri="{FF2B5EF4-FFF2-40B4-BE49-F238E27FC236}">
                <a16:creationId xmlns:a16="http://schemas.microsoft.com/office/drawing/2014/main" id="{E4A483C9-6AF4-4BE9-9D20-94C091B08F59}"/>
              </a:ext>
            </a:extLst>
          </p:cNvPr>
          <p:cNvSpPr/>
          <p:nvPr/>
        </p:nvSpPr>
        <p:spPr bwMode="auto">
          <a:xfrm>
            <a:off x="2110104" y="5456949"/>
            <a:ext cx="1619592" cy="87647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ct val="0"/>
              </a:spcBef>
              <a:spcAft>
                <a:spcPct val="0"/>
              </a:spcAft>
              <a:buClrTx/>
              <a:buSzTx/>
              <a:buFontTx/>
              <a:buNone/>
              <a:tabLst/>
              <a:defRPr/>
            </a:pPr>
            <a:endParaRPr kumimoji="0" lang="en-IN" sz="1922"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50" name="Title 1">
            <a:extLst>
              <a:ext uri="{FF2B5EF4-FFF2-40B4-BE49-F238E27FC236}">
                <a16:creationId xmlns:a16="http://schemas.microsoft.com/office/drawing/2014/main" id="{07C703FD-E802-4600-8D0D-99219AC27D7E}"/>
              </a:ext>
            </a:extLst>
          </p:cNvPr>
          <p:cNvSpPr txBox="1">
            <a:spLocks/>
          </p:cNvSpPr>
          <p:nvPr/>
        </p:nvSpPr>
        <p:spPr>
          <a:xfrm>
            <a:off x="155454" y="265518"/>
            <a:ext cx="10515600" cy="74349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solidFill>
                  <a:srgbClr val="505050"/>
                </a:solidFill>
                <a:effectLst/>
                <a:uLnTx/>
                <a:uFillTx/>
                <a:latin typeface="Segoe UI Light"/>
                <a:ea typeface="+mn-ea"/>
                <a:cs typeface="Segoe UI" pitchFamily="34" charset="0"/>
              </a:rPr>
              <a:t>Azure SQL Data Warehouse Architecture</a:t>
            </a:r>
            <a:endParaRPr kumimoji="0" lang="en-US" sz="4705"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51" name="Rectangle 378">
            <a:extLst>
              <a:ext uri="{FF2B5EF4-FFF2-40B4-BE49-F238E27FC236}">
                <a16:creationId xmlns:a16="http://schemas.microsoft.com/office/drawing/2014/main" id="{B610AC02-4C92-41C7-8644-22D9DB506A8B}"/>
              </a:ext>
            </a:extLst>
          </p:cNvPr>
          <p:cNvSpPr>
            <a:spLocks noChangeArrowheads="1"/>
          </p:cNvSpPr>
          <p:nvPr/>
        </p:nvSpPr>
        <p:spPr bwMode="auto">
          <a:xfrm>
            <a:off x="3723906" y="1987750"/>
            <a:ext cx="64" cy="362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sz="2353" kern="0" dirty="0">
              <a:solidFill>
                <a:srgbClr val="505050"/>
              </a:solidFill>
              <a:latin typeface="Segoe UI"/>
            </a:endParaRPr>
          </a:p>
        </p:txBody>
      </p:sp>
      <p:grpSp>
        <p:nvGrpSpPr>
          <p:cNvPr id="252" name="Group 251">
            <a:extLst>
              <a:ext uri="{FF2B5EF4-FFF2-40B4-BE49-F238E27FC236}">
                <a16:creationId xmlns:a16="http://schemas.microsoft.com/office/drawing/2014/main" id="{9E941AFE-9C65-4452-8DF7-A85F5E31635A}"/>
              </a:ext>
            </a:extLst>
          </p:cNvPr>
          <p:cNvGrpSpPr/>
          <p:nvPr/>
        </p:nvGrpSpPr>
        <p:grpSpPr>
          <a:xfrm>
            <a:off x="3573290" y="1469503"/>
            <a:ext cx="998746" cy="1344637"/>
            <a:chOff x="9882329" y="3122532"/>
            <a:chExt cx="1018773" cy="1371600"/>
          </a:xfrm>
        </p:grpSpPr>
        <p:grpSp>
          <p:nvGrpSpPr>
            <p:cNvPr id="253" name="Group 252">
              <a:extLst>
                <a:ext uri="{FF2B5EF4-FFF2-40B4-BE49-F238E27FC236}">
                  <a16:creationId xmlns:a16="http://schemas.microsoft.com/office/drawing/2014/main" id="{B0631EFD-48A2-4986-9053-35EE37F20BE1}"/>
                </a:ext>
              </a:extLst>
            </p:cNvPr>
            <p:cNvGrpSpPr>
              <a:grpSpLocks noChangeAspect="1"/>
            </p:cNvGrpSpPr>
            <p:nvPr/>
          </p:nvGrpSpPr>
          <p:grpSpPr>
            <a:xfrm>
              <a:off x="9882329" y="3122532"/>
              <a:ext cx="1018773" cy="1371600"/>
              <a:chOff x="6592193" y="1888324"/>
              <a:chExt cx="2181834" cy="2937461"/>
            </a:xfrm>
          </p:grpSpPr>
          <p:sp>
            <p:nvSpPr>
              <p:cNvPr id="255" name="Can 9">
                <a:extLst>
                  <a:ext uri="{FF2B5EF4-FFF2-40B4-BE49-F238E27FC236}">
                    <a16:creationId xmlns:a16="http://schemas.microsoft.com/office/drawing/2014/main" id="{585BB0B9-8C62-418F-B738-D55902E05AE3}"/>
                  </a:ext>
                </a:extLst>
              </p:cNvPr>
              <p:cNvSpPr/>
              <p:nvPr/>
            </p:nvSpPr>
            <p:spPr>
              <a:xfrm>
                <a:off x="6592193" y="1888325"/>
                <a:ext cx="2181834" cy="2937460"/>
              </a:xfrm>
              <a:prstGeom prst="can">
                <a:avLst>
                  <a:gd name="adj" fmla="val 51849"/>
                </a:avLst>
              </a:prstGeom>
              <a:solidFill>
                <a:srgbClr val="CDCCCB"/>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56" name="Donut 10">
                <a:extLst>
                  <a:ext uri="{FF2B5EF4-FFF2-40B4-BE49-F238E27FC236}">
                    <a16:creationId xmlns:a16="http://schemas.microsoft.com/office/drawing/2014/main" id="{B2C51847-B6B9-4737-9650-E42D3A717503}"/>
                  </a:ext>
                </a:extLst>
              </p:cNvPr>
              <p:cNvSpPr/>
              <p:nvPr/>
            </p:nvSpPr>
            <p:spPr>
              <a:xfrm>
                <a:off x="6592193" y="1888324"/>
                <a:ext cx="2181834" cy="1119376"/>
              </a:xfrm>
              <a:prstGeom prst="donut">
                <a:avLst>
                  <a:gd name="adj" fmla="val 5387"/>
                </a:avLst>
              </a:prstGeom>
              <a:solidFill>
                <a:srgbClr val="E5E5E5"/>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57" name="Group 256">
                <a:extLst>
                  <a:ext uri="{FF2B5EF4-FFF2-40B4-BE49-F238E27FC236}">
                    <a16:creationId xmlns:a16="http://schemas.microsoft.com/office/drawing/2014/main" id="{C5170849-5E85-4600-A2E6-5CEA72DBBAD7}"/>
                  </a:ext>
                </a:extLst>
              </p:cNvPr>
              <p:cNvGrpSpPr/>
              <p:nvPr/>
            </p:nvGrpSpPr>
            <p:grpSpPr>
              <a:xfrm>
                <a:off x="6654555" y="1948052"/>
                <a:ext cx="2062791" cy="999923"/>
                <a:chOff x="3418451" y="1327507"/>
                <a:chExt cx="2706124" cy="1321666"/>
              </a:xfrm>
            </p:grpSpPr>
            <p:sp>
              <p:nvSpPr>
                <p:cNvPr id="258" name="Donut 12">
                  <a:extLst>
                    <a:ext uri="{FF2B5EF4-FFF2-40B4-BE49-F238E27FC236}">
                      <a16:creationId xmlns:a16="http://schemas.microsoft.com/office/drawing/2014/main" id="{EE24E494-1C27-4011-9B7D-567F5E5DFEE8}"/>
                    </a:ext>
                  </a:extLst>
                </p:cNvPr>
                <p:cNvSpPr/>
                <p:nvPr/>
              </p:nvSpPr>
              <p:spPr>
                <a:xfrm>
                  <a:off x="3418451" y="1327507"/>
                  <a:ext cx="2706124" cy="1321666"/>
                </a:xfrm>
                <a:prstGeom prst="donut">
                  <a:avLst>
                    <a:gd name="adj" fmla="val 50000"/>
                  </a:avLst>
                </a:prstGeom>
                <a:solidFill>
                  <a:srgbClr val="00ABDA"/>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59" name="Freeform 13">
                  <a:extLst>
                    <a:ext uri="{FF2B5EF4-FFF2-40B4-BE49-F238E27FC236}">
                      <a16:creationId xmlns:a16="http://schemas.microsoft.com/office/drawing/2014/main" id="{380FA38C-64BE-4365-A0BD-64FC17E6D5E2}"/>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254" name="TextBox 253">
              <a:extLst>
                <a:ext uri="{FF2B5EF4-FFF2-40B4-BE49-F238E27FC236}">
                  <a16:creationId xmlns:a16="http://schemas.microsoft.com/office/drawing/2014/main" id="{4FE5B52C-1BBE-4AAA-AA5B-013F978ABB3B}"/>
                </a:ext>
              </a:extLst>
            </p:cNvPr>
            <p:cNvSpPr txBox="1"/>
            <p:nvPr/>
          </p:nvSpPr>
          <p:spPr>
            <a:xfrm>
              <a:off x="9954823" y="3659933"/>
              <a:ext cx="902064" cy="755871"/>
            </a:xfrm>
            <a:prstGeom prst="rect">
              <a:avLst/>
            </a:prstGeom>
            <a:noFill/>
          </p:spPr>
          <p:txBody>
            <a:bodyPr wrap="none" lIns="175761" tIns="140609" rIns="175761" bIns="140609" rtlCol="0">
              <a:spAutoFit/>
            </a:bodyPr>
            <a:lstStyle/>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Control</a:t>
              </a:r>
            </a:p>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Node</a:t>
              </a:r>
            </a:p>
          </p:txBody>
        </p:sp>
      </p:grpSp>
      <p:grpSp>
        <p:nvGrpSpPr>
          <p:cNvPr id="260" name="Group 259">
            <a:extLst>
              <a:ext uri="{FF2B5EF4-FFF2-40B4-BE49-F238E27FC236}">
                <a16:creationId xmlns:a16="http://schemas.microsoft.com/office/drawing/2014/main" id="{FF0B729C-6549-4047-9DB5-12E88F7A0CA2}"/>
              </a:ext>
            </a:extLst>
          </p:cNvPr>
          <p:cNvGrpSpPr/>
          <p:nvPr/>
        </p:nvGrpSpPr>
        <p:grpSpPr>
          <a:xfrm>
            <a:off x="1482999" y="3441078"/>
            <a:ext cx="1020805" cy="1344637"/>
            <a:chOff x="9882329" y="3122532"/>
            <a:chExt cx="1041275" cy="1371600"/>
          </a:xfrm>
        </p:grpSpPr>
        <p:grpSp>
          <p:nvGrpSpPr>
            <p:cNvPr id="261" name="Group 260">
              <a:extLst>
                <a:ext uri="{FF2B5EF4-FFF2-40B4-BE49-F238E27FC236}">
                  <a16:creationId xmlns:a16="http://schemas.microsoft.com/office/drawing/2014/main" id="{5E6DDCD3-E202-48D7-BA56-4149637E77DC}"/>
                </a:ext>
              </a:extLst>
            </p:cNvPr>
            <p:cNvGrpSpPr>
              <a:grpSpLocks noChangeAspect="1"/>
            </p:cNvGrpSpPr>
            <p:nvPr/>
          </p:nvGrpSpPr>
          <p:grpSpPr>
            <a:xfrm>
              <a:off x="9882329" y="3122532"/>
              <a:ext cx="1018773" cy="1371600"/>
              <a:chOff x="6592193" y="1888324"/>
              <a:chExt cx="2181834" cy="2937461"/>
            </a:xfrm>
          </p:grpSpPr>
          <p:sp>
            <p:nvSpPr>
              <p:cNvPr id="263" name="Can 19">
                <a:extLst>
                  <a:ext uri="{FF2B5EF4-FFF2-40B4-BE49-F238E27FC236}">
                    <a16:creationId xmlns:a16="http://schemas.microsoft.com/office/drawing/2014/main" id="{02C6DCB9-D3F2-4214-B662-58F50518ECF1}"/>
                  </a:ext>
                </a:extLst>
              </p:cNvPr>
              <p:cNvSpPr/>
              <p:nvPr/>
            </p:nvSpPr>
            <p:spPr>
              <a:xfrm>
                <a:off x="6592193" y="1888325"/>
                <a:ext cx="2181834" cy="2937460"/>
              </a:xfrm>
              <a:prstGeom prst="can">
                <a:avLst>
                  <a:gd name="adj" fmla="val 51849"/>
                </a:avLst>
              </a:prstGeom>
              <a:solidFill>
                <a:srgbClr val="CDCCCB"/>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64" name="Donut 20">
                <a:extLst>
                  <a:ext uri="{FF2B5EF4-FFF2-40B4-BE49-F238E27FC236}">
                    <a16:creationId xmlns:a16="http://schemas.microsoft.com/office/drawing/2014/main" id="{2DA283AD-22BA-4E3E-BFDA-37E4D6CEC65C}"/>
                  </a:ext>
                </a:extLst>
              </p:cNvPr>
              <p:cNvSpPr/>
              <p:nvPr/>
            </p:nvSpPr>
            <p:spPr>
              <a:xfrm>
                <a:off x="6592193" y="1888324"/>
                <a:ext cx="2181834" cy="1119376"/>
              </a:xfrm>
              <a:prstGeom prst="donut">
                <a:avLst>
                  <a:gd name="adj" fmla="val 5387"/>
                </a:avLst>
              </a:prstGeom>
              <a:solidFill>
                <a:srgbClr val="E5E5E5"/>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65" name="Group 264">
                <a:extLst>
                  <a:ext uri="{FF2B5EF4-FFF2-40B4-BE49-F238E27FC236}">
                    <a16:creationId xmlns:a16="http://schemas.microsoft.com/office/drawing/2014/main" id="{D38AEDAA-4987-4C14-A8AB-8AC25D56D42D}"/>
                  </a:ext>
                </a:extLst>
              </p:cNvPr>
              <p:cNvGrpSpPr/>
              <p:nvPr/>
            </p:nvGrpSpPr>
            <p:grpSpPr>
              <a:xfrm>
                <a:off x="6654555" y="1948052"/>
                <a:ext cx="2062791" cy="999923"/>
                <a:chOff x="3418451" y="1327507"/>
                <a:chExt cx="2706124" cy="1321666"/>
              </a:xfrm>
            </p:grpSpPr>
            <p:sp>
              <p:nvSpPr>
                <p:cNvPr id="266" name="Donut 22">
                  <a:extLst>
                    <a:ext uri="{FF2B5EF4-FFF2-40B4-BE49-F238E27FC236}">
                      <a16:creationId xmlns:a16="http://schemas.microsoft.com/office/drawing/2014/main" id="{04298C39-1FF8-4F74-948A-BF14C81B1AC7}"/>
                    </a:ext>
                  </a:extLst>
                </p:cNvPr>
                <p:cNvSpPr/>
                <p:nvPr/>
              </p:nvSpPr>
              <p:spPr>
                <a:xfrm>
                  <a:off x="3418451" y="1327507"/>
                  <a:ext cx="2706124" cy="1321666"/>
                </a:xfrm>
                <a:prstGeom prst="donut">
                  <a:avLst>
                    <a:gd name="adj" fmla="val 50000"/>
                  </a:avLst>
                </a:prstGeom>
                <a:solidFill>
                  <a:srgbClr val="FF8C00">
                    <a:lumMod val="60000"/>
                    <a:lumOff val="40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67" name="Freeform 23">
                  <a:extLst>
                    <a:ext uri="{FF2B5EF4-FFF2-40B4-BE49-F238E27FC236}">
                      <a16:creationId xmlns:a16="http://schemas.microsoft.com/office/drawing/2014/main" id="{E2C5E586-C0EC-4445-A7FA-EFA657797A26}"/>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262" name="TextBox 261">
              <a:extLst>
                <a:ext uri="{FF2B5EF4-FFF2-40B4-BE49-F238E27FC236}">
                  <a16:creationId xmlns:a16="http://schemas.microsoft.com/office/drawing/2014/main" id="{21930016-842C-478B-97E7-835DF0651D86}"/>
                </a:ext>
              </a:extLst>
            </p:cNvPr>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Compute</a:t>
              </a:r>
            </a:p>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Node</a:t>
              </a:r>
            </a:p>
          </p:txBody>
        </p:sp>
      </p:grpSp>
      <p:grpSp>
        <p:nvGrpSpPr>
          <p:cNvPr id="268" name="Group 267">
            <a:extLst>
              <a:ext uri="{FF2B5EF4-FFF2-40B4-BE49-F238E27FC236}">
                <a16:creationId xmlns:a16="http://schemas.microsoft.com/office/drawing/2014/main" id="{94E4CCE3-2F6B-4379-B476-43E5C4589E31}"/>
              </a:ext>
            </a:extLst>
          </p:cNvPr>
          <p:cNvGrpSpPr/>
          <p:nvPr/>
        </p:nvGrpSpPr>
        <p:grpSpPr>
          <a:xfrm>
            <a:off x="2974915" y="3441078"/>
            <a:ext cx="1020805" cy="1344637"/>
            <a:chOff x="9882329" y="3122532"/>
            <a:chExt cx="1041275" cy="1371600"/>
          </a:xfrm>
        </p:grpSpPr>
        <p:grpSp>
          <p:nvGrpSpPr>
            <p:cNvPr id="269" name="Group 268">
              <a:extLst>
                <a:ext uri="{FF2B5EF4-FFF2-40B4-BE49-F238E27FC236}">
                  <a16:creationId xmlns:a16="http://schemas.microsoft.com/office/drawing/2014/main" id="{7FB32E71-1460-4E40-AA03-24121BB234BB}"/>
                </a:ext>
              </a:extLst>
            </p:cNvPr>
            <p:cNvGrpSpPr>
              <a:grpSpLocks noChangeAspect="1"/>
            </p:cNvGrpSpPr>
            <p:nvPr/>
          </p:nvGrpSpPr>
          <p:grpSpPr>
            <a:xfrm>
              <a:off x="9882329" y="3122532"/>
              <a:ext cx="1018773" cy="1371600"/>
              <a:chOff x="6592193" y="1888324"/>
              <a:chExt cx="2181834" cy="2937461"/>
            </a:xfrm>
          </p:grpSpPr>
          <p:sp>
            <p:nvSpPr>
              <p:cNvPr id="271" name="Can 27">
                <a:extLst>
                  <a:ext uri="{FF2B5EF4-FFF2-40B4-BE49-F238E27FC236}">
                    <a16:creationId xmlns:a16="http://schemas.microsoft.com/office/drawing/2014/main" id="{BB1EF72B-999A-4467-AECD-3671E4C5F46C}"/>
                  </a:ext>
                </a:extLst>
              </p:cNvPr>
              <p:cNvSpPr/>
              <p:nvPr/>
            </p:nvSpPr>
            <p:spPr>
              <a:xfrm>
                <a:off x="6592193" y="1888325"/>
                <a:ext cx="2181834" cy="2937460"/>
              </a:xfrm>
              <a:prstGeom prst="can">
                <a:avLst>
                  <a:gd name="adj" fmla="val 51849"/>
                </a:avLst>
              </a:prstGeom>
              <a:solidFill>
                <a:srgbClr val="CDCCCB"/>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2" name="Donut 28">
                <a:extLst>
                  <a:ext uri="{FF2B5EF4-FFF2-40B4-BE49-F238E27FC236}">
                    <a16:creationId xmlns:a16="http://schemas.microsoft.com/office/drawing/2014/main" id="{99CE6034-2657-45F8-94FA-531EA430145D}"/>
                  </a:ext>
                </a:extLst>
              </p:cNvPr>
              <p:cNvSpPr/>
              <p:nvPr/>
            </p:nvSpPr>
            <p:spPr>
              <a:xfrm>
                <a:off x="6592193" y="1888324"/>
                <a:ext cx="2181834" cy="1119376"/>
              </a:xfrm>
              <a:prstGeom prst="donut">
                <a:avLst>
                  <a:gd name="adj" fmla="val 5387"/>
                </a:avLst>
              </a:prstGeom>
              <a:solidFill>
                <a:srgbClr val="E5E5E5"/>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73" name="Group 272">
                <a:extLst>
                  <a:ext uri="{FF2B5EF4-FFF2-40B4-BE49-F238E27FC236}">
                    <a16:creationId xmlns:a16="http://schemas.microsoft.com/office/drawing/2014/main" id="{9B50E385-E051-4879-BA8C-ED7BEF49F4D0}"/>
                  </a:ext>
                </a:extLst>
              </p:cNvPr>
              <p:cNvGrpSpPr/>
              <p:nvPr/>
            </p:nvGrpSpPr>
            <p:grpSpPr>
              <a:xfrm>
                <a:off x="6654555" y="1948052"/>
                <a:ext cx="2062791" cy="999923"/>
                <a:chOff x="3418451" y="1327507"/>
                <a:chExt cx="2706124" cy="1321666"/>
              </a:xfrm>
            </p:grpSpPr>
            <p:sp>
              <p:nvSpPr>
                <p:cNvPr id="274" name="Donut 30">
                  <a:extLst>
                    <a:ext uri="{FF2B5EF4-FFF2-40B4-BE49-F238E27FC236}">
                      <a16:creationId xmlns:a16="http://schemas.microsoft.com/office/drawing/2014/main" id="{3D301787-DCDA-4B6A-93BD-9818759746F1}"/>
                    </a:ext>
                  </a:extLst>
                </p:cNvPr>
                <p:cNvSpPr/>
                <p:nvPr/>
              </p:nvSpPr>
              <p:spPr>
                <a:xfrm>
                  <a:off x="3418451" y="1327507"/>
                  <a:ext cx="2706124" cy="1321666"/>
                </a:xfrm>
                <a:prstGeom prst="donut">
                  <a:avLst>
                    <a:gd name="adj" fmla="val 50000"/>
                  </a:avLst>
                </a:prstGeom>
                <a:solidFill>
                  <a:srgbClr val="FF8C00">
                    <a:lumMod val="60000"/>
                    <a:lumOff val="40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5" name="Freeform 31">
                  <a:extLst>
                    <a:ext uri="{FF2B5EF4-FFF2-40B4-BE49-F238E27FC236}">
                      <a16:creationId xmlns:a16="http://schemas.microsoft.com/office/drawing/2014/main" id="{3E3F6ED2-A9E2-41ED-A458-CB242D89D0AA}"/>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270" name="TextBox 269">
              <a:extLst>
                <a:ext uri="{FF2B5EF4-FFF2-40B4-BE49-F238E27FC236}">
                  <a16:creationId xmlns:a16="http://schemas.microsoft.com/office/drawing/2014/main" id="{01619C09-D5DF-42C3-BAA3-CD73A07A7652}"/>
                </a:ext>
              </a:extLst>
            </p:cNvPr>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Compute</a:t>
              </a:r>
            </a:p>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Node</a:t>
              </a:r>
            </a:p>
          </p:txBody>
        </p:sp>
      </p:grpSp>
      <p:cxnSp>
        <p:nvCxnSpPr>
          <p:cNvPr id="276" name="Straight Connector 275">
            <a:extLst>
              <a:ext uri="{FF2B5EF4-FFF2-40B4-BE49-F238E27FC236}">
                <a16:creationId xmlns:a16="http://schemas.microsoft.com/office/drawing/2014/main" id="{1CFFE5F4-E927-4401-8E5C-360787520341}"/>
              </a:ext>
            </a:extLst>
          </p:cNvPr>
          <p:cNvCxnSpPr>
            <a:stCxn id="263" idx="1"/>
          </p:cNvCxnSpPr>
          <p:nvPr/>
        </p:nvCxnSpPr>
        <p:spPr>
          <a:xfrm flipV="1">
            <a:off x="1982372" y="2590945"/>
            <a:ext cx="1590918" cy="850133"/>
          </a:xfrm>
          <a:prstGeom prst="line">
            <a:avLst/>
          </a:prstGeom>
          <a:noFill/>
          <a:ln w="9525" cap="flat" cmpd="sng" algn="ctr">
            <a:solidFill>
              <a:srgbClr val="D83B01"/>
            </a:solidFill>
            <a:prstDash val="solid"/>
          </a:ln>
          <a:effectLst/>
        </p:spPr>
      </p:cxnSp>
      <p:cxnSp>
        <p:nvCxnSpPr>
          <p:cNvPr id="277" name="Straight Connector 276">
            <a:extLst>
              <a:ext uri="{FF2B5EF4-FFF2-40B4-BE49-F238E27FC236}">
                <a16:creationId xmlns:a16="http://schemas.microsoft.com/office/drawing/2014/main" id="{46376973-AED6-401C-9717-020D5165417B}"/>
              </a:ext>
            </a:extLst>
          </p:cNvPr>
          <p:cNvCxnSpPr>
            <a:stCxn id="294" idx="0"/>
          </p:cNvCxnSpPr>
          <p:nvPr/>
        </p:nvCxnSpPr>
        <p:spPr>
          <a:xfrm flipH="1" flipV="1">
            <a:off x="4546090" y="2590945"/>
            <a:ext cx="1832153" cy="877474"/>
          </a:xfrm>
          <a:prstGeom prst="line">
            <a:avLst/>
          </a:prstGeom>
          <a:noFill/>
          <a:ln w="9525" cap="flat" cmpd="sng" algn="ctr">
            <a:solidFill>
              <a:srgbClr val="D83B01"/>
            </a:solidFill>
            <a:prstDash val="solid"/>
          </a:ln>
          <a:effectLst/>
        </p:spPr>
      </p:cxnSp>
      <p:cxnSp>
        <p:nvCxnSpPr>
          <p:cNvPr id="278" name="Straight Connector 277">
            <a:extLst>
              <a:ext uri="{FF2B5EF4-FFF2-40B4-BE49-F238E27FC236}">
                <a16:creationId xmlns:a16="http://schemas.microsoft.com/office/drawing/2014/main" id="{0889436D-C8D7-40E1-B677-7EAC32DABD4E}"/>
              </a:ext>
            </a:extLst>
          </p:cNvPr>
          <p:cNvCxnSpPr>
            <a:stCxn id="272" idx="0"/>
          </p:cNvCxnSpPr>
          <p:nvPr/>
        </p:nvCxnSpPr>
        <p:spPr>
          <a:xfrm flipV="1">
            <a:off x="3474288" y="2814140"/>
            <a:ext cx="366192" cy="626938"/>
          </a:xfrm>
          <a:prstGeom prst="line">
            <a:avLst/>
          </a:prstGeom>
          <a:noFill/>
          <a:ln w="9525" cap="flat" cmpd="sng" algn="ctr">
            <a:solidFill>
              <a:srgbClr val="D83B01"/>
            </a:solidFill>
            <a:prstDash val="solid"/>
          </a:ln>
          <a:effectLst/>
        </p:spPr>
      </p:cxnSp>
      <p:cxnSp>
        <p:nvCxnSpPr>
          <p:cNvPr id="279" name="Straight Connector 278">
            <a:extLst>
              <a:ext uri="{FF2B5EF4-FFF2-40B4-BE49-F238E27FC236}">
                <a16:creationId xmlns:a16="http://schemas.microsoft.com/office/drawing/2014/main" id="{41EDFA50-BDA4-41EE-9CC3-2BD5F9DBFBAB}"/>
              </a:ext>
            </a:extLst>
          </p:cNvPr>
          <p:cNvCxnSpPr>
            <a:stCxn id="286" idx="0"/>
          </p:cNvCxnSpPr>
          <p:nvPr/>
        </p:nvCxnSpPr>
        <p:spPr>
          <a:xfrm flipH="1" flipV="1">
            <a:off x="4273617" y="2814140"/>
            <a:ext cx="667511" cy="654279"/>
          </a:xfrm>
          <a:prstGeom prst="line">
            <a:avLst/>
          </a:prstGeom>
          <a:noFill/>
          <a:ln w="9525" cap="flat" cmpd="sng" algn="ctr">
            <a:solidFill>
              <a:srgbClr val="D83B01"/>
            </a:solidFill>
            <a:prstDash val="solid"/>
          </a:ln>
          <a:effectLst/>
        </p:spPr>
      </p:cxnSp>
      <p:grpSp>
        <p:nvGrpSpPr>
          <p:cNvPr id="280" name="Group 279">
            <a:extLst>
              <a:ext uri="{FF2B5EF4-FFF2-40B4-BE49-F238E27FC236}">
                <a16:creationId xmlns:a16="http://schemas.microsoft.com/office/drawing/2014/main" id="{32D01C01-C4CE-4CB2-AD9A-B65F7C082D24}"/>
              </a:ext>
            </a:extLst>
          </p:cNvPr>
          <p:cNvGrpSpPr/>
          <p:nvPr/>
        </p:nvGrpSpPr>
        <p:grpSpPr>
          <a:xfrm>
            <a:off x="4440455" y="3441078"/>
            <a:ext cx="1020805" cy="1344637"/>
            <a:chOff x="9882329" y="3122532"/>
            <a:chExt cx="1041275" cy="1371600"/>
          </a:xfrm>
        </p:grpSpPr>
        <p:grpSp>
          <p:nvGrpSpPr>
            <p:cNvPr id="281" name="Group 280">
              <a:extLst>
                <a:ext uri="{FF2B5EF4-FFF2-40B4-BE49-F238E27FC236}">
                  <a16:creationId xmlns:a16="http://schemas.microsoft.com/office/drawing/2014/main" id="{3C6E5B24-8943-4A92-BA57-D0992BFFFD4F}"/>
                </a:ext>
              </a:extLst>
            </p:cNvPr>
            <p:cNvGrpSpPr>
              <a:grpSpLocks noChangeAspect="1"/>
            </p:cNvGrpSpPr>
            <p:nvPr/>
          </p:nvGrpSpPr>
          <p:grpSpPr>
            <a:xfrm>
              <a:off x="9882329" y="3122532"/>
              <a:ext cx="1018773" cy="1371600"/>
              <a:chOff x="6592193" y="1888324"/>
              <a:chExt cx="2181834" cy="2937461"/>
            </a:xfrm>
          </p:grpSpPr>
          <p:sp>
            <p:nvSpPr>
              <p:cNvPr id="283" name="Can 35">
                <a:extLst>
                  <a:ext uri="{FF2B5EF4-FFF2-40B4-BE49-F238E27FC236}">
                    <a16:creationId xmlns:a16="http://schemas.microsoft.com/office/drawing/2014/main" id="{5C5A14BC-9640-4998-8990-B1689382546D}"/>
                  </a:ext>
                </a:extLst>
              </p:cNvPr>
              <p:cNvSpPr/>
              <p:nvPr/>
            </p:nvSpPr>
            <p:spPr>
              <a:xfrm>
                <a:off x="6592193" y="1888325"/>
                <a:ext cx="2181834" cy="2937460"/>
              </a:xfrm>
              <a:prstGeom prst="can">
                <a:avLst>
                  <a:gd name="adj" fmla="val 51849"/>
                </a:avLst>
              </a:prstGeom>
              <a:solidFill>
                <a:srgbClr val="CDCCCB"/>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4" name="Donut 36">
                <a:extLst>
                  <a:ext uri="{FF2B5EF4-FFF2-40B4-BE49-F238E27FC236}">
                    <a16:creationId xmlns:a16="http://schemas.microsoft.com/office/drawing/2014/main" id="{1F074F6D-8A78-4F85-A59B-09E138BD0F40}"/>
                  </a:ext>
                </a:extLst>
              </p:cNvPr>
              <p:cNvSpPr/>
              <p:nvPr/>
            </p:nvSpPr>
            <p:spPr>
              <a:xfrm>
                <a:off x="6592193" y="1888324"/>
                <a:ext cx="2181834" cy="1119376"/>
              </a:xfrm>
              <a:prstGeom prst="donut">
                <a:avLst>
                  <a:gd name="adj" fmla="val 5387"/>
                </a:avLst>
              </a:prstGeom>
              <a:solidFill>
                <a:srgbClr val="E5E5E5"/>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85" name="Group 284">
                <a:extLst>
                  <a:ext uri="{FF2B5EF4-FFF2-40B4-BE49-F238E27FC236}">
                    <a16:creationId xmlns:a16="http://schemas.microsoft.com/office/drawing/2014/main" id="{0F2D6A8F-3CE0-41D1-875F-63408B7A30F8}"/>
                  </a:ext>
                </a:extLst>
              </p:cNvPr>
              <p:cNvGrpSpPr/>
              <p:nvPr/>
            </p:nvGrpSpPr>
            <p:grpSpPr>
              <a:xfrm>
                <a:off x="6654555" y="1948052"/>
                <a:ext cx="2062791" cy="999923"/>
                <a:chOff x="3418451" y="1327507"/>
                <a:chExt cx="2706124" cy="1321666"/>
              </a:xfrm>
            </p:grpSpPr>
            <p:sp>
              <p:nvSpPr>
                <p:cNvPr id="286" name="Donut 38">
                  <a:extLst>
                    <a:ext uri="{FF2B5EF4-FFF2-40B4-BE49-F238E27FC236}">
                      <a16:creationId xmlns:a16="http://schemas.microsoft.com/office/drawing/2014/main" id="{B1D2FFBB-AE90-4BEA-9310-6487277B06B7}"/>
                    </a:ext>
                  </a:extLst>
                </p:cNvPr>
                <p:cNvSpPr/>
                <p:nvPr/>
              </p:nvSpPr>
              <p:spPr>
                <a:xfrm>
                  <a:off x="3418451" y="1327507"/>
                  <a:ext cx="2706124" cy="1321666"/>
                </a:xfrm>
                <a:prstGeom prst="donut">
                  <a:avLst>
                    <a:gd name="adj" fmla="val 50000"/>
                  </a:avLst>
                </a:prstGeom>
                <a:solidFill>
                  <a:srgbClr val="FF8C00">
                    <a:lumMod val="60000"/>
                    <a:lumOff val="40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7" name="Freeform 39">
                  <a:extLst>
                    <a:ext uri="{FF2B5EF4-FFF2-40B4-BE49-F238E27FC236}">
                      <a16:creationId xmlns:a16="http://schemas.microsoft.com/office/drawing/2014/main" id="{CCEF2088-E26C-4CE3-BC1C-CF18754042D3}"/>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282" name="TextBox 281">
              <a:extLst>
                <a:ext uri="{FF2B5EF4-FFF2-40B4-BE49-F238E27FC236}">
                  <a16:creationId xmlns:a16="http://schemas.microsoft.com/office/drawing/2014/main" id="{9560F0F7-D56B-4827-BF56-09E9055E085E}"/>
                </a:ext>
              </a:extLst>
            </p:cNvPr>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Compute</a:t>
              </a:r>
            </a:p>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Node</a:t>
              </a:r>
            </a:p>
          </p:txBody>
        </p:sp>
      </p:grpSp>
      <p:grpSp>
        <p:nvGrpSpPr>
          <p:cNvPr id="288" name="Group 287">
            <a:extLst>
              <a:ext uri="{FF2B5EF4-FFF2-40B4-BE49-F238E27FC236}">
                <a16:creationId xmlns:a16="http://schemas.microsoft.com/office/drawing/2014/main" id="{6EF88F9E-D30A-43AB-89C1-75A18BC1E7D3}"/>
              </a:ext>
            </a:extLst>
          </p:cNvPr>
          <p:cNvGrpSpPr/>
          <p:nvPr/>
        </p:nvGrpSpPr>
        <p:grpSpPr>
          <a:xfrm>
            <a:off x="5877570" y="3441078"/>
            <a:ext cx="1020805" cy="1344637"/>
            <a:chOff x="9882329" y="3122532"/>
            <a:chExt cx="1041275" cy="1371600"/>
          </a:xfrm>
        </p:grpSpPr>
        <p:grpSp>
          <p:nvGrpSpPr>
            <p:cNvPr id="289" name="Group 288">
              <a:extLst>
                <a:ext uri="{FF2B5EF4-FFF2-40B4-BE49-F238E27FC236}">
                  <a16:creationId xmlns:a16="http://schemas.microsoft.com/office/drawing/2014/main" id="{3E34C759-A6C9-4BEF-BEF5-B3B6F354847D}"/>
                </a:ext>
              </a:extLst>
            </p:cNvPr>
            <p:cNvGrpSpPr>
              <a:grpSpLocks noChangeAspect="1"/>
            </p:cNvGrpSpPr>
            <p:nvPr/>
          </p:nvGrpSpPr>
          <p:grpSpPr>
            <a:xfrm>
              <a:off x="9882329" y="3122532"/>
              <a:ext cx="1018773" cy="1371600"/>
              <a:chOff x="6592193" y="1888324"/>
              <a:chExt cx="2181834" cy="2937461"/>
            </a:xfrm>
          </p:grpSpPr>
          <p:sp>
            <p:nvSpPr>
              <p:cNvPr id="291" name="Can 43">
                <a:extLst>
                  <a:ext uri="{FF2B5EF4-FFF2-40B4-BE49-F238E27FC236}">
                    <a16:creationId xmlns:a16="http://schemas.microsoft.com/office/drawing/2014/main" id="{BFC11E3A-8B3A-414F-BF42-19C922DB36C7}"/>
                  </a:ext>
                </a:extLst>
              </p:cNvPr>
              <p:cNvSpPr/>
              <p:nvPr/>
            </p:nvSpPr>
            <p:spPr>
              <a:xfrm>
                <a:off x="6592193" y="1888325"/>
                <a:ext cx="2181834" cy="2937460"/>
              </a:xfrm>
              <a:prstGeom prst="can">
                <a:avLst>
                  <a:gd name="adj" fmla="val 51849"/>
                </a:avLst>
              </a:prstGeom>
              <a:solidFill>
                <a:srgbClr val="CDCCCB"/>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92" name="Donut 44">
                <a:extLst>
                  <a:ext uri="{FF2B5EF4-FFF2-40B4-BE49-F238E27FC236}">
                    <a16:creationId xmlns:a16="http://schemas.microsoft.com/office/drawing/2014/main" id="{84AD46B6-9DBB-4B05-A529-2699AC2BA39C}"/>
                  </a:ext>
                </a:extLst>
              </p:cNvPr>
              <p:cNvSpPr/>
              <p:nvPr/>
            </p:nvSpPr>
            <p:spPr>
              <a:xfrm>
                <a:off x="6592193" y="1888324"/>
                <a:ext cx="2181834" cy="1119376"/>
              </a:xfrm>
              <a:prstGeom prst="donut">
                <a:avLst>
                  <a:gd name="adj" fmla="val 5387"/>
                </a:avLst>
              </a:prstGeom>
              <a:solidFill>
                <a:srgbClr val="E5E5E5"/>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93" name="Group 292">
                <a:extLst>
                  <a:ext uri="{FF2B5EF4-FFF2-40B4-BE49-F238E27FC236}">
                    <a16:creationId xmlns:a16="http://schemas.microsoft.com/office/drawing/2014/main" id="{756AE6B2-9269-46A8-B969-A1CB903E918F}"/>
                  </a:ext>
                </a:extLst>
              </p:cNvPr>
              <p:cNvGrpSpPr/>
              <p:nvPr/>
            </p:nvGrpSpPr>
            <p:grpSpPr>
              <a:xfrm>
                <a:off x="6654555" y="1948052"/>
                <a:ext cx="2062791" cy="999923"/>
                <a:chOff x="3418451" y="1327507"/>
                <a:chExt cx="2706124" cy="1321666"/>
              </a:xfrm>
            </p:grpSpPr>
            <p:sp>
              <p:nvSpPr>
                <p:cNvPr id="294" name="Donut 46">
                  <a:extLst>
                    <a:ext uri="{FF2B5EF4-FFF2-40B4-BE49-F238E27FC236}">
                      <a16:creationId xmlns:a16="http://schemas.microsoft.com/office/drawing/2014/main" id="{B0DA0CBD-CF7E-4829-B06E-3245B1F33820}"/>
                    </a:ext>
                  </a:extLst>
                </p:cNvPr>
                <p:cNvSpPr/>
                <p:nvPr/>
              </p:nvSpPr>
              <p:spPr>
                <a:xfrm>
                  <a:off x="3418451" y="1327507"/>
                  <a:ext cx="2706124" cy="1321666"/>
                </a:xfrm>
                <a:prstGeom prst="donut">
                  <a:avLst>
                    <a:gd name="adj" fmla="val 50000"/>
                  </a:avLst>
                </a:prstGeom>
                <a:solidFill>
                  <a:srgbClr val="FF8C00">
                    <a:lumMod val="60000"/>
                    <a:lumOff val="40000"/>
                  </a:srgbClr>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95" name="Freeform 47">
                  <a:extLst>
                    <a:ext uri="{FF2B5EF4-FFF2-40B4-BE49-F238E27FC236}">
                      <a16:creationId xmlns:a16="http://schemas.microsoft.com/office/drawing/2014/main" id="{F49C9BF1-0DBA-4BC6-B00B-ACC06ED8613B}"/>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0795" cap="flat" cmpd="sng" algn="ctr">
                  <a:no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FFFFFF"/>
                    </a:solidFill>
                    <a:effectLst/>
                    <a:uLnTx/>
                    <a:uFillTx/>
                    <a:latin typeface="Segoe UI"/>
                    <a:ea typeface="+mn-ea"/>
                    <a:cs typeface="+mn-cs"/>
                  </a:endParaRPr>
                </a:p>
              </p:txBody>
            </p:sp>
          </p:grpSp>
        </p:grpSp>
        <p:sp>
          <p:nvSpPr>
            <p:cNvPr id="290" name="TextBox 289">
              <a:extLst>
                <a:ext uri="{FF2B5EF4-FFF2-40B4-BE49-F238E27FC236}">
                  <a16:creationId xmlns:a16="http://schemas.microsoft.com/office/drawing/2014/main" id="{1EC202A0-A1F1-4197-83FA-38A4D04BA0A4}"/>
                </a:ext>
              </a:extLst>
            </p:cNvPr>
            <p:cNvSpPr txBox="1"/>
            <p:nvPr/>
          </p:nvSpPr>
          <p:spPr>
            <a:xfrm>
              <a:off x="9888112" y="3659933"/>
              <a:ext cx="1035492" cy="755871"/>
            </a:xfrm>
            <a:prstGeom prst="rect">
              <a:avLst/>
            </a:prstGeom>
            <a:noFill/>
          </p:spPr>
          <p:txBody>
            <a:bodyPr wrap="none" lIns="175761" tIns="140609" rIns="175761" bIns="140609" rtlCol="0">
              <a:spAutoFit/>
            </a:bodyPr>
            <a:lstStyle/>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Compute</a:t>
              </a:r>
            </a:p>
            <a:p>
              <a:pPr marL="0" marR="0" lvl="0" indent="0" algn="ctr" defTabSz="895509" eaLnBrk="1" fontAlgn="base" latinLnBrk="0" hangingPunct="1">
                <a:lnSpc>
                  <a:spcPct val="90000"/>
                </a:lnSpc>
                <a:spcBef>
                  <a:spcPct val="0"/>
                </a:spcBef>
                <a:spcAft>
                  <a:spcPts val="576"/>
                </a:spcAft>
                <a:buClrTx/>
                <a:buSzTx/>
                <a:buFontTx/>
                <a:buNone/>
                <a:tabLst/>
                <a:defRPr/>
              </a:pPr>
              <a:r>
                <a:rPr kumimoji="0" lang="en-US" sz="1372" b="0" i="0" u="none" strike="noStrike" kern="0" cap="none" spc="0" normalizeH="0" baseline="0" noProof="0" dirty="0">
                  <a:ln>
                    <a:noFill/>
                  </a:ln>
                  <a:solidFill>
                    <a:srgbClr val="515151"/>
                  </a:solidFill>
                  <a:effectLst/>
                  <a:uLnTx/>
                  <a:uFillTx/>
                  <a:latin typeface="Segoe UI"/>
                  <a:ea typeface="MS PGothic" charset="0"/>
                  <a:cs typeface="Segoe UI" panose="020B0502040204020203" pitchFamily="34" charset="0"/>
                </a:rPr>
                <a:t>Node</a:t>
              </a:r>
            </a:p>
          </p:txBody>
        </p:sp>
      </p:grpSp>
      <p:sp>
        <p:nvSpPr>
          <p:cNvPr id="296" name="Freeform 58">
            <a:extLst>
              <a:ext uri="{FF2B5EF4-FFF2-40B4-BE49-F238E27FC236}">
                <a16:creationId xmlns:a16="http://schemas.microsoft.com/office/drawing/2014/main" id="{720A3D2C-EF63-424B-96C9-89EDA1BC4BDE}"/>
              </a:ext>
            </a:extLst>
          </p:cNvPr>
          <p:cNvSpPr/>
          <p:nvPr/>
        </p:nvSpPr>
        <p:spPr bwMode="auto">
          <a:xfrm>
            <a:off x="1073176"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ct val="0"/>
              </a:spcBef>
              <a:spcAft>
                <a:spcPct val="0"/>
              </a:spcAft>
              <a:buClrTx/>
              <a:buSzTx/>
              <a:buFontTx/>
              <a:buNone/>
              <a:tabLst/>
              <a:defRPr/>
            </a:pPr>
            <a:r>
              <a:rPr kumimoji="0" lang="en-IN" sz="105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SQL DB</a:t>
            </a:r>
          </a:p>
        </p:txBody>
      </p:sp>
      <p:sp>
        <p:nvSpPr>
          <p:cNvPr id="297" name="Freeform 59">
            <a:extLst>
              <a:ext uri="{FF2B5EF4-FFF2-40B4-BE49-F238E27FC236}">
                <a16:creationId xmlns:a16="http://schemas.microsoft.com/office/drawing/2014/main" id="{C34FE6C8-DCAE-49A2-AB69-A5B500E566F9}"/>
              </a:ext>
            </a:extLst>
          </p:cNvPr>
          <p:cNvSpPr/>
          <p:nvPr/>
        </p:nvSpPr>
        <p:spPr bwMode="auto">
          <a:xfrm>
            <a:off x="2547228"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ct val="0"/>
              </a:spcBef>
              <a:spcAft>
                <a:spcPct val="0"/>
              </a:spcAft>
              <a:buClrTx/>
              <a:buSzTx/>
              <a:buFontTx/>
              <a:buNone/>
              <a:tabLst/>
              <a:defRPr/>
            </a:pPr>
            <a:r>
              <a:rPr kumimoji="0" lang="en-IN" sz="105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SQL DB</a:t>
            </a:r>
          </a:p>
        </p:txBody>
      </p:sp>
      <p:sp>
        <p:nvSpPr>
          <p:cNvPr id="298" name="Freeform 60">
            <a:extLst>
              <a:ext uri="{FF2B5EF4-FFF2-40B4-BE49-F238E27FC236}">
                <a16:creationId xmlns:a16="http://schemas.microsoft.com/office/drawing/2014/main" id="{0FC18F66-A7E3-44AA-8E77-0382870DDF57}"/>
              </a:ext>
            </a:extLst>
          </p:cNvPr>
          <p:cNvSpPr/>
          <p:nvPr/>
        </p:nvSpPr>
        <p:spPr bwMode="auto">
          <a:xfrm>
            <a:off x="4010719"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ct val="0"/>
              </a:spcBef>
              <a:spcAft>
                <a:spcPct val="0"/>
              </a:spcAft>
              <a:buClrTx/>
              <a:buSzTx/>
              <a:buFontTx/>
              <a:buNone/>
              <a:tabLst/>
              <a:defRPr/>
            </a:pPr>
            <a:r>
              <a:rPr kumimoji="0" lang="en-IN" sz="105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SQL DB</a:t>
            </a:r>
          </a:p>
        </p:txBody>
      </p:sp>
      <p:sp>
        <p:nvSpPr>
          <p:cNvPr id="299" name="Freeform 61">
            <a:extLst>
              <a:ext uri="{FF2B5EF4-FFF2-40B4-BE49-F238E27FC236}">
                <a16:creationId xmlns:a16="http://schemas.microsoft.com/office/drawing/2014/main" id="{9E4BBE4B-2C7A-486D-89AA-DBEAFEC69270}"/>
              </a:ext>
            </a:extLst>
          </p:cNvPr>
          <p:cNvSpPr/>
          <p:nvPr/>
        </p:nvSpPr>
        <p:spPr bwMode="auto">
          <a:xfrm>
            <a:off x="5476259" y="348797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ct val="0"/>
              </a:spcBef>
              <a:spcAft>
                <a:spcPct val="0"/>
              </a:spcAft>
              <a:buClrTx/>
              <a:buSzTx/>
              <a:buFontTx/>
              <a:buNone/>
              <a:tabLst/>
              <a:defRPr/>
            </a:pPr>
            <a:r>
              <a:rPr kumimoji="0" lang="en-IN" sz="105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SQL DB</a:t>
            </a:r>
          </a:p>
        </p:txBody>
      </p:sp>
      <p:sp>
        <p:nvSpPr>
          <p:cNvPr id="300" name="Flowchart: Magnetic Disk 299">
            <a:extLst>
              <a:ext uri="{FF2B5EF4-FFF2-40B4-BE49-F238E27FC236}">
                <a16:creationId xmlns:a16="http://schemas.microsoft.com/office/drawing/2014/main" id="{33AE82A6-FEFF-4925-AC8D-5B191B7D218E}"/>
              </a:ext>
            </a:extLst>
          </p:cNvPr>
          <p:cNvSpPr/>
          <p:nvPr/>
        </p:nvSpPr>
        <p:spPr>
          <a:xfrm>
            <a:off x="2596922" y="5732351"/>
            <a:ext cx="539015" cy="413887"/>
          </a:xfrm>
          <a:prstGeom prst="flowChartMagneticDisk">
            <a:avLst/>
          </a:prstGeom>
          <a:solidFill>
            <a:srgbClr val="D83B01"/>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01" name="Flowchart: Magnetic Disk 300">
            <a:extLst>
              <a:ext uri="{FF2B5EF4-FFF2-40B4-BE49-F238E27FC236}">
                <a16:creationId xmlns:a16="http://schemas.microsoft.com/office/drawing/2014/main" id="{4C936DFA-4E68-4EAD-9EC4-D4DF2CF2FD36}"/>
              </a:ext>
            </a:extLst>
          </p:cNvPr>
          <p:cNvSpPr/>
          <p:nvPr/>
        </p:nvSpPr>
        <p:spPr>
          <a:xfrm>
            <a:off x="3163309" y="5732351"/>
            <a:ext cx="539015" cy="413887"/>
          </a:xfrm>
          <a:prstGeom prst="flowChartMagneticDisk">
            <a:avLst/>
          </a:prstGeom>
          <a:solidFill>
            <a:srgbClr val="D83B01"/>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02" name="Flowchart: Magnetic Disk 301">
            <a:extLst>
              <a:ext uri="{FF2B5EF4-FFF2-40B4-BE49-F238E27FC236}">
                <a16:creationId xmlns:a16="http://schemas.microsoft.com/office/drawing/2014/main" id="{47997DD5-CEFE-4D23-BFC7-B9FEBF5D5F3F}"/>
              </a:ext>
            </a:extLst>
          </p:cNvPr>
          <p:cNvSpPr/>
          <p:nvPr/>
        </p:nvSpPr>
        <p:spPr>
          <a:xfrm>
            <a:off x="3729696" y="5732351"/>
            <a:ext cx="539015" cy="413887"/>
          </a:xfrm>
          <a:prstGeom prst="flowChartMagneticDisk">
            <a:avLst/>
          </a:prstGeom>
          <a:solidFill>
            <a:srgbClr val="D83B01"/>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03" name="Flowchart: Magnetic Disk 302">
            <a:extLst>
              <a:ext uri="{FF2B5EF4-FFF2-40B4-BE49-F238E27FC236}">
                <a16:creationId xmlns:a16="http://schemas.microsoft.com/office/drawing/2014/main" id="{2F9015E1-2EE6-4616-8D7D-E534FBA7FAD6}"/>
              </a:ext>
            </a:extLst>
          </p:cNvPr>
          <p:cNvSpPr/>
          <p:nvPr/>
        </p:nvSpPr>
        <p:spPr>
          <a:xfrm>
            <a:off x="4293209" y="5732351"/>
            <a:ext cx="539015" cy="413887"/>
          </a:xfrm>
          <a:prstGeom prst="flowChartMagneticDisk">
            <a:avLst/>
          </a:prstGeom>
          <a:solidFill>
            <a:srgbClr val="D83B01"/>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04" name="Flowchart: Magnetic Disk 303">
            <a:extLst>
              <a:ext uri="{FF2B5EF4-FFF2-40B4-BE49-F238E27FC236}">
                <a16:creationId xmlns:a16="http://schemas.microsoft.com/office/drawing/2014/main" id="{27212BC4-2C5B-467C-A185-0E010B49FED0}"/>
              </a:ext>
            </a:extLst>
          </p:cNvPr>
          <p:cNvSpPr/>
          <p:nvPr/>
        </p:nvSpPr>
        <p:spPr>
          <a:xfrm>
            <a:off x="4854526" y="5732351"/>
            <a:ext cx="539015" cy="413887"/>
          </a:xfrm>
          <a:prstGeom prst="flowChartMagneticDisk">
            <a:avLst/>
          </a:prstGeom>
          <a:solidFill>
            <a:srgbClr val="D83B01"/>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05" name="TextBox 304">
            <a:extLst>
              <a:ext uri="{FF2B5EF4-FFF2-40B4-BE49-F238E27FC236}">
                <a16:creationId xmlns:a16="http://schemas.microsoft.com/office/drawing/2014/main" id="{8B5A8E31-2748-4266-8CF7-3F0AEA7B5AC7}"/>
              </a:ext>
            </a:extLst>
          </p:cNvPr>
          <p:cNvSpPr txBox="1"/>
          <p:nvPr/>
        </p:nvSpPr>
        <p:spPr>
          <a:xfrm>
            <a:off x="3259210" y="5344990"/>
            <a:ext cx="2192640" cy="474016"/>
          </a:xfrm>
          <a:prstGeom prst="rect">
            <a:avLst/>
          </a:prstGeom>
          <a:noFill/>
        </p:spPr>
        <p:txBody>
          <a:bodyPr wrap="square" lIns="175761" tIns="140609" rIns="175761" bIns="140609" rtlCol="0">
            <a:spAutoFit/>
          </a:bodyPr>
          <a:lstStyle/>
          <a:p>
            <a:pPr algn="ctr" defTabSz="895509" fontAlgn="base">
              <a:lnSpc>
                <a:spcPct val="90000"/>
              </a:lnSpc>
              <a:spcBef>
                <a:spcPct val="0"/>
              </a:spcBef>
              <a:spcAft>
                <a:spcPts val="576"/>
              </a:spcAft>
              <a:defRPr/>
            </a:pPr>
            <a:r>
              <a:rPr lang="en-US" sz="1372" kern="0" dirty="0">
                <a:solidFill>
                  <a:srgbClr val="515151"/>
                </a:solidFill>
                <a:latin typeface="Segoe UI"/>
                <a:ea typeface="MS PGothic" charset="0"/>
                <a:cs typeface="Segoe UI" panose="020B0502040204020203" pitchFamily="34" charset="0"/>
              </a:rPr>
              <a:t>Storage</a:t>
            </a:r>
          </a:p>
        </p:txBody>
      </p:sp>
      <p:cxnSp>
        <p:nvCxnSpPr>
          <p:cNvPr id="306" name="Straight Connector 305">
            <a:extLst>
              <a:ext uri="{FF2B5EF4-FFF2-40B4-BE49-F238E27FC236}">
                <a16:creationId xmlns:a16="http://schemas.microsoft.com/office/drawing/2014/main" id="{F5567636-3CC4-4F09-826C-08C21BE1599A}"/>
              </a:ext>
            </a:extLst>
          </p:cNvPr>
          <p:cNvCxnSpPr>
            <a:stCxn id="263" idx="3"/>
          </p:cNvCxnSpPr>
          <p:nvPr/>
        </p:nvCxnSpPr>
        <p:spPr>
          <a:xfrm>
            <a:off x="1982372" y="4785715"/>
            <a:ext cx="0" cy="440803"/>
          </a:xfrm>
          <a:prstGeom prst="line">
            <a:avLst/>
          </a:prstGeom>
          <a:noFill/>
          <a:ln w="9525" cap="flat" cmpd="sng" algn="ctr">
            <a:solidFill>
              <a:srgbClr val="D83B01"/>
            </a:solidFill>
            <a:prstDash val="solid"/>
          </a:ln>
          <a:effectLst/>
        </p:spPr>
      </p:cxnSp>
      <p:cxnSp>
        <p:nvCxnSpPr>
          <p:cNvPr id="307" name="Straight Connector 306">
            <a:extLst>
              <a:ext uri="{FF2B5EF4-FFF2-40B4-BE49-F238E27FC236}">
                <a16:creationId xmlns:a16="http://schemas.microsoft.com/office/drawing/2014/main" id="{65B99676-07A5-4879-B870-07A88D32E173}"/>
              </a:ext>
            </a:extLst>
          </p:cNvPr>
          <p:cNvCxnSpPr/>
          <p:nvPr/>
        </p:nvCxnSpPr>
        <p:spPr>
          <a:xfrm>
            <a:off x="3474288" y="4785715"/>
            <a:ext cx="0" cy="440803"/>
          </a:xfrm>
          <a:prstGeom prst="line">
            <a:avLst/>
          </a:prstGeom>
          <a:noFill/>
          <a:ln w="9525" cap="flat" cmpd="sng" algn="ctr">
            <a:solidFill>
              <a:srgbClr val="D83B01"/>
            </a:solidFill>
            <a:prstDash val="solid"/>
          </a:ln>
          <a:effectLst/>
        </p:spPr>
      </p:cxnSp>
      <p:cxnSp>
        <p:nvCxnSpPr>
          <p:cNvPr id="308" name="Straight Connector 307">
            <a:extLst>
              <a:ext uri="{FF2B5EF4-FFF2-40B4-BE49-F238E27FC236}">
                <a16:creationId xmlns:a16="http://schemas.microsoft.com/office/drawing/2014/main" id="{D16275FF-C77C-4134-B5FD-94884A74F2B0}"/>
              </a:ext>
            </a:extLst>
          </p:cNvPr>
          <p:cNvCxnSpPr/>
          <p:nvPr/>
        </p:nvCxnSpPr>
        <p:spPr>
          <a:xfrm>
            <a:off x="4959946" y="4785715"/>
            <a:ext cx="0" cy="440803"/>
          </a:xfrm>
          <a:prstGeom prst="line">
            <a:avLst/>
          </a:prstGeom>
          <a:noFill/>
          <a:ln w="9525" cap="flat" cmpd="sng" algn="ctr">
            <a:solidFill>
              <a:srgbClr val="D83B01"/>
            </a:solidFill>
            <a:prstDash val="solid"/>
          </a:ln>
          <a:effectLst/>
        </p:spPr>
      </p:cxnSp>
      <p:cxnSp>
        <p:nvCxnSpPr>
          <p:cNvPr id="309" name="Straight Connector 308">
            <a:extLst>
              <a:ext uri="{FF2B5EF4-FFF2-40B4-BE49-F238E27FC236}">
                <a16:creationId xmlns:a16="http://schemas.microsoft.com/office/drawing/2014/main" id="{3D9CCC60-0B99-4DC9-8BD5-8DEF79F78FCC}"/>
              </a:ext>
            </a:extLst>
          </p:cNvPr>
          <p:cNvCxnSpPr/>
          <p:nvPr/>
        </p:nvCxnSpPr>
        <p:spPr>
          <a:xfrm>
            <a:off x="6378243" y="4785715"/>
            <a:ext cx="0" cy="440803"/>
          </a:xfrm>
          <a:prstGeom prst="line">
            <a:avLst/>
          </a:prstGeom>
          <a:noFill/>
          <a:ln w="9525" cap="flat" cmpd="sng" algn="ctr">
            <a:solidFill>
              <a:srgbClr val="D83B01"/>
            </a:solidFill>
            <a:prstDash val="solid"/>
          </a:ln>
          <a:effectLst/>
        </p:spPr>
      </p:cxnSp>
      <p:sp>
        <p:nvSpPr>
          <p:cNvPr id="310" name="Rounded Rectangle 87">
            <a:extLst>
              <a:ext uri="{FF2B5EF4-FFF2-40B4-BE49-F238E27FC236}">
                <a16:creationId xmlns:a16="http://schemas.microsoft.com/office/drawing/2014/main" id="{A9492547-FB27-406D-9EF5-1390E1309AE2}"/>
              </a:ext>
            </a:extLst>
          </p:cNvPr>
          <p:cNvSpPr/>
          <p:nvPr/>
        </p:nvSpPr>
        <p:spPr>
          <a:xfrm>
            <a:off x="9096859" y="2894526"/>
            <a:ext cx="2876968" cy="1814401"/>
          </a:xfrm>
          <a:prstGeom prst="roundRect">
            <a:avLst/>
          </a:prstGeom>
          <a:solidFill>
            <a:srgbClr val="D83B01">
              <a:lumMod val="60000"/>
              <a:lumOff val="40000"/>
            </a:srgbClr>
          </a:solidFill>
          <a:ln w="10795" cap="flat" cmpd="sng" algn="ctr">
            <a:solidFill>
              <a:srgbClr val="D83B0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prstClr val="white"/>
                </a:solidFill>
                <a:effectLst/>
                <a:uLnTx/>
                <a:uFillTx/>
                <a:latin typeface="Segoe UI"/>
                <a:ea typeface="+mn-ea"/>
                <a:cs typeface="+mn-cs"/>
              </a:rPr>
              <a:t>Compu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Scale compute up or down when require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Pause, Restart,  Stop, Start.</a:t>
            </a:r>
          </a:p>
        </p:txBody>
      </p:sp>
      <p:sp>
        <p:nvSpPr>
          <p:cNvPr id="311" name="Rounded Rectangle 88">
            <a:extLst>
              <a:ext uri="{FF2B5EF4-FFF2-40B4-BE49-F238E27FC236}">
                <a16:creationId xmlns:a16="http://schemas.microsoft.com/office/drawing/2014/main" id="{615A05AE-3F26-4221-BDF2-492FEDBA1EEA}"/>
              </a:ext>
            </a:extLst>
          </p:cNvPr>
          <p:cNvSpPr/>
          <p:nvPr/>
        </p:nvSpPr>
        <p:spPr>
          <a:xfrm>
            <a:off x="9096859" y="5226518"/>
            <a:ext cx="2876968" cy="1262111"/>
          </a:xfrm>
          <a:prstGeom prst="roundRect">
            <a:avLst/>
          </a:prstGeom>
          <a:solidFill>
            <a:srgbClr val="505050">
              <a:lumMod val="40000"/>
              <a:lumOff val="60000"/>
            </a:srgbClr>
          </a:solidFill>
          <a:ln w="10795" cap="flat" cmpd="sng" algn="ctr">
            <a:solidFill>
              <a:srgbClr val="505050">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sng" strike="noStrike" kern="0" cap="none" spc="0" normalizeH="0" baseline="0" noProof="0" dirty="0">
                <a:ln>
                  <a:noFill/>
                </a:ln>
                <a:solidFill>
                  <a:prstClr val="white"/>
                </a:solidFill>
                <a:effectLst/>
                <a:uLnTx/>
                <a:uFillTx/>
                <a:latin typeface="Segoe UI"/>
                <a:ea typeface="+mn-ea"/>
                <a:cs typeface="+mn-cs"/>
              </a:rPr>
              <a:t>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Add\Load data to WASB(S) without incurring compute costs</a:t>
            </a:r>
          </a:p>
        </p:txBody>
      </p:sp>
      <p:sp>
        <p:nvSpPr>
          <p:cNvPr id="312" name="Rounded Rectangle 90">
            <a:extLst>
              <a:ext uri="{FF2B5EF4-FFF2-40B4-BE49-F238E27FC236}">
                <a16:creationId xmlns:a16="http://schemas.microsoft.com/office/drawing/2014/main" id="{45BC7943-112A-4DE4-AD3A-332DC3FAE52B}"/>
              </a:ext>
            </a:extLst>
          </p:cNvPr>
          <p:cNvSpPr/>
          <p:nvPr/>
        </p:nvSpPr>
        <p:spPr>
          <a:xfrm>
            <a:off x="2952262" y="2687814"/>
            <a:ext cx="2228150" cy="452843"/>
          </a:xfrm>
          <a:prstGeom prst="roundRect">
            <a:avLst/>
          </a:prstGeom>
          <a:solidFill>
            <a:srgbClr val="D83B01">
              <a:lumMod val="60000"/>
              <a:lumOff val="40000"/>
            </a:srgbClr>
          </a:solidFill>
          <a:ln w="10795" cap="flat" cmpd="sng" algn="ctr">
            <a:solidFill>
              <a:srgbClr val="D83B0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Massively Parallel Processing (MPP) Engine</a:t>
            </a:r>
          </a:p>
        </p:txBody>
      </p:sp>
      <p:sp>
        <p:nvSpPr>
          <p:cNvPr id="313" name="Rounded Rectangle 91">
            <a:extLst>
              <a:ext uri="{FF2B5EF4-FFF2-40B4-BE49-F238E27FC236}">
                <a16:creationId xmlns:a16="http://schemas.microsoft.com/office/drawing/2014/main" id="{E01D55F4-3915-40EB-906F-502173221DA8}"/>
              </a:ext>
            </a:extLst>
          </p:cNvPr>
          <p:cNvSpPr/>
          <p:nvPr/>
        </p:nvSpPr>
        <p:spPr>
          <a:xfrm>
            <a:off x="5710828" y="4987599"/>
            <a:ext cx="2228150" cy="452843"/>
          </a:xfrm>
          <a:prstGeom prst="roundRect">
            <a:avLst/>
          </a:prstGeom>
          <a:solidFill>
            <a:srgbClr val="D83B01">
              <a:lumMod val="60000"/>
              <a:lumOff val="40000"/>
            </a:srgbClr>
          </a:solidFill>
          <a:ln w="10795" cap="flat" cmpd="sng" algn="ctr">
            <a:solidFill>
              <a:srgbClr val="D83B0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Azure Infrastructure and Storage</a:t>
            </a:r>
          </a:p>
        </p:txBody>
      </p:sp>
      <p:sp>
        <p:nvSpPr>
          <p:cNvPr id="314" name="Rounded Rectangle 94">
            <a:extLst>
              <a:ext uri="{FF2B5EF4-FFF2-40B4-BE49-F238E27FC236}">
                <a16:creationId xmlns:a16="http://schemas.microsoft.com/office/drawing/2014/main" id="{07829F2C-51C1-4DB5-A138-B10E6659C425}"/>
              </a:ext>
            </a:extLst>
          </p:cNvPr>
          <p:cNvSpPr/>
          <p:nvPr/>
        </p:nvSpPr>
        <p:spPr>
          <a:xfrm>
            <a:off x="178478" y="1260303"/>
            <a:ext cx="1625155" cy="723237"/>
          </a:xfrm>
          <a:prstGeom prst="roundRect">
            <a:avLst/>
          </a:prstGeom>
          <a:solidFill>
            <a:srgbClr val="D83B01">
              <a:lumMod val="60000"/>
              <a:lumOff val="40000"/>
            </a:srgbClr>
          </a:solidFill>
          <a:ln w="10795" cap="flat" cmpd="sng" algn="ctr">
            <a:solidFill>
              <a:srgbClr val="D83B01">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Application or User connection</a:t>
            </a:r>
          </a:p>
        </p:txBody>
      </p:sp>
      <p:sp>
        <p:nvSpPr>
          <p:cNvPr id="315" name="Bent Arrow 105">
            <a:extLst>
              <a:ext uri="{FF2B5EF4-FFF2-40B4-BE49-F238E27FC236}">
                <a16:creationId xmlns:a16="http://schemas.microsoft.com/office/drawing/2014/main" id="{BF0BB915-38B7-44F8-9581-8E3C556805B3}"/>
              </a:ext>
            </a:extLst>
          </p:cNvPr>
          <p:cNvSpPr/>
          <p:nvPr/>
        </p:nvSpPr>
        <p:spPr>
          <a:xfrm rot="10800000" flipH="1">
            <a:off x="802518" y="2590945"/>
            <a:ext cx="1020748" cy="3897684"/>
          </a:xfrm>
          <a:prstGeom prst="bentArrow">
            <a:avLst/>
          </a:prstGeom>
          <a:solidFill>
            <a:srgbClr val="505050">
              <a:lumMod val="40000"/>
              <a:lumOff val="60000"/>
            </a:srgbClr>
          </a:solidFill>
          <a:ln>
            <a:solidFill>
              <a:srgbClr val="505050">
                <a:lumMod val="40000"/>
                <a:lumOff val="60000"/>
              </a:srgbClr>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a:ea typeface="+mn-ea"/>
              <a:cs typeface="+mn-cs"/>
            </a:endParaRPr>
          </a:p>
        </p:txBody>
      </p:sp>
      <p:sp>
        <p:nvSpPr>
          <p:cNvPr id="316" name="Rounded Rectangle 97">
            <a:extLst>
              <a:ext uri="{FF2B5EF4-FFF2-40B4-BE49-F238E27FC236}">
                <a16:creationId xmlns:a16="http://schemas.microsoft.com/office/drawing/2014/main" id="{9409F18F-F77E-4197-A545-827D20E28D64}"/>
              </a:ext>
            </a:extLst>
          </p:cNvPr>
          <p:cNvSpPr/>
          <p:nvPr/>
        </p:nvSpPr>
        <p:spPr>
          <a:xfrm>
            <a:off x="176165" y="2067580"/>
            <a:ext cx="1928031" cy="723237"/>
          </a:xfrm>
          <a:prstGeom prst="roundRect">
            <a:avLst/>
          </a:prstGeom>
          <a:solidFill>
            <a:srgbClr val="D2D2D2">
              <a:shade val="80000"/>
              <a:satMod val="18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a:ea typeface="+mn-ea"/>
                <a:cs typeface="+mn-cs"/>
              </a:rPr>
              <a:t>Data </a:t>
            </a:r>
            <a:r>
              <a:rPr kumimoji="0" lang="en-US" sz="1400" b="0" i="0" u="none" strike="noStrike" kern="0" cap="none" spc="0" normalizeH="0" baseline="0" noProof="0" dirty="0">
                <a:ln>
                  <a:noFill/>
                </a:ln>
                <a:solidFill>
                  <a:prstClr val="white"/>
                </a:solidFill>
                <a:effectLst/>
                <a:uLnTx/>
                <a:uFillTx/>
                <a:latin typeface="Segoe UI"/>
                <a:ea typeface="+mn-ea"/>
                <a:cs typeface="+mn-cs"/>
              </a:rPr>
              <a:t>Load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a:ea typeface="+mn-ea"/>
                <a:cs typeface="+mn-cs"/>
              </a:rPr>
              <a:t>(SSIS, REST, OLE, ADO, ODBC, WebHDFS, AZCopy, PS)</a:t>
            </a:r>
            <a:r>
              <a:rPr kumimoji="0" lang="en-US" sz="1400" b="0" i="0" u="none" strike="noStrike" kern="0" cap="none" spc="0" normalizeH="0" baseline="0" noProof="0" dirty="0">
                <a:ln>
                  <a:noFill/>
                </a:ln>
                <a:solidFill>
                  <a:prstClr val="white"/>
                </a:solidFill>
                <a:effectLst/>
                <a:uLnTx/>
                <a:uFillTx/>
                <a:latin typeface="Segoe UI"/>
                <a:ea typeface="+mn-ea"/>
                <a:cs typeface="+mn-cs"/>
              </a:rPr>
              <a:t> </a:t>
            </a:r>
            <a:endParaRPr kumimoji="0" lang="en-US" sz="1600" b="0" i="0" u="none" strike="noStrike" kern="0" cap="none" spc="0" normalizeH="0" baseline="0" noProof="0" dirty="0">
              <a:ln>
                <a:noFill/>
              </a:ln>
              <a:solidFill>
                <a:prstClr val="white"/>
              </a:solidFill>
              <a:effectLst/>
              <a:uLnTx/>
              <a:uFillTx/>
              <a:latin typeface="Segoe UI"/>
              <a:ea typeface="+mn-ea"/>
              <a:cs typeface="+mn-cs"/>
            </a:endParaRPr>
          </a:p>
        </p:txBody>
      </p:sp>
      <p:sp>
        <p:nvSpPr>
          <p:cNvPr id="317" name="Rounded Rectangle 4">
            <a:extLst>
              <a:ext uri="{FF2B5EF4-FFF2-40B4-BE49-F238E27FC236}">
                <a16:creationId xmlns:a16="http://schemas.microsoft.com/office/drawing/2014/main" id="{FFC77B62-8895-4003-AD5C-389963AA1D5C}"/>
              </a:ext>
            </a:extLst>
          </p:cNvPr>
          <p:cNvSpPr/>
          <p:nvPr/>
        </p:nvSpPr>
        <p:spPr>
          <a:xfrm>
            <a:off x="3230877" y="2299008"/>
            <a:ext cx="486818" cy="343569"/>
          </a:xfrm>
          <a:prstGeom prst="roundRect">
            <a:avLst/>
          </a:prstGeom>
          <a:solidFill>
            <a:srgbClr val="AB86C7"/>
          </a:solidFill>
          <a:ln w="10795" cap="flat" cmpd="sng" algn="ctr">
            <a:solidFill>
              <a:srgbClr val="AB86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a:ea typeface="+mn-ea"/>
                <a:cs typeface="+mn-cs"/>
              </a:rPr>
              <a:t>DMS</a:t>
            </a:r>
          </a:p>
        </p:txBody>
      </p:sp>
      <p:sp>
        <p:nvSpPr>
          <p:cNvPr id="318" name="Rounded Rectangle 96">
            <a:extLst>
              <a:ext uri="{FF2B5EF4-FFF2-40B4-BE49-F238E27FC236}">
                <a16:creationId xmlns:a16="http://schemas.microsoft.com/office/drawing/2014/main" id="{5C1DF997-F210-4E95-B550-D78AF5BCE0E1}"/>
              </a:ext>
            </a:extLst>
          </p:cNvPr>
          <p:cNvSpPr/>
          <p:nvPr/>
        </p:nvSpPr>
        <p:spPr>
          <a:xfrm>
            <a:off x="1646447" y="3306839"/>
            <a:ext cx="486818" cy="343569"/>
          </a:xfrm>
          <a:prstGeom prst="roundRect">
            <a:avLst/>
          </a:prstGeom>
          <a:solidFill>
            <a:srgbClr val="AB86C7"/>
          </a:solidFill>
          <a:ln w="10795" cap="flat" cmpd="sng" algn="ctr">
            <a:solidFill>
              <a:srgbClr val="AB86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a:ea typeface="+mn-ea"/>
                <a:cs typeface="+mn-cs"/>
              </a:rPr>
              <a:t>DMS</a:t>
            </a:r>
          </a:p>
        </p:txBody>
      </p:sp>
      <p:sp>
        <p:nvSpPr>
          <p:cNvPr id="319" name="Rounded Rectangle 100">
            <a:extLst>
              <a:ext uri="{FF2B5EF4-FFF2-40B4-BE49-F238E27FC236}">
                <a16:creationId xmlns:a16="http://schemas.microsoft.com/office/drawing/2014/main" id="{4460923E-AF21-42C6-93C4-92EEF86CD72A}"/>
              </a:ext>
            </a:extLst>
          </p:cNvPr>
          <p:cNvSpPr/>
          <p:nvPr/>
        </p:nvSpPr>
        <p:spPr>
          <a:xfrm>
            <a:off x="3114749" y="3306839"/>
            <a:ext cx="486818" cy="343569"/>
          </a:xfrm>
          <a:prstGeom prst="roundRect">
            <a:avLst/>
          </a:prstGeom>
          <a:solidFill>
            <a:srgbClr val="AB86C7"/>
          </a:solidFill>
          <a:ln w="10795" cap="flat" cmpd="sng" algn="ctr">
            <a:solidFill>
              <a:srgbClr val="AB86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a:ea typeface="+mn-ea"/>
                <a:cs typeface="+mn-cs"/>
              </a:rPr>
              <a:t>DMS</a:t>
            </a:r>
          </a:p>
        </p:txBody>
      </p:sp>
      <p:sp>
        <p:nvSpPr>
          <p:cNvPr id="320" name="Rounded Rectangle 101">
            <a:extLst>
              <a:ext uri="{FF2B5EF4-FFF2-40B4-BE49-F238E27FC236}">
                <a16:creationId xmlns:a16="http://schemas.microsoft.com/office/drawing/2014/main" id="{421FFEEC-0DAA-433A-BFB9-ED967D86E80B}"/>
              </a:ext>
            </a:extLst>
          </p:cNvPr>
          <p:cNvSpPr/>
          <p:nvPr/>
        </p:nvSpPr>
        <p:spPr>
          <a:xfrm>
            <a:off x="4581307" y="3306839"/>
            <a:ext cx="486818" cy="343569"/>
          </a:xfrm>
          <a:prstGeom prst="roundRect">
            <a:avLst/>
          </a:prstGeom>
          <a:solidFill>
            <a:srgbClr val="AB86C7"/>
          </a:solidFill>
          <a:ln w="10795" cap="flat" cmpd="sng" algn="ctr">
            <a:solidFill>
              <a:srgbClr val="AB86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a:ea typeface="+mn-ea"/>
                <a:cs typeface="+mn-cs"/>
              </a:rPr>
              <a:t>DMS</a:t>
            </a:r>
          </a:p>
        </p:txBody>
      </p:sp>
      <p:sp>
        <p:nvSpPr>
          <p:cNvPr id="321" name="Rounded Rectangle 102">
            <a:extLst>
              <a:ext uri="{FF2B5EF4-FFF2-40B4-BE49-F238E27FC236}">
                <a16:creationId xmlns:a16="http://schemas.microsoft.com/office/drawing/2014/main" id="{6E2CC01E-DB42-4293-BFBF-91E956BE3EEC}"/>
              </a:ext>
            </a:extLst>
          </p:cNvPr>
          <p:cNvSpPr/>
          <p:nvPr/>
        </p:nvSpPr>
        <p:spPr>
          <a:xfrm>
            <a:off x="6055627" y="3306839"/>
            <a:ext cx="486818" cy="343569"/>
          </a:xfrm>
          <a:prstGeom prst="roundRect">
            <a:avLst/>
          </a:prstGeom>
          <a:solidFill>
            <a:srgbClr val="AB86C7"/>
          </a:solidFill>
          <a:ln w="10795" cap="flat" cmpd="sng" algn="ctr">
            <a:solidFill>
              <a:srgbClr val="AB86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a:ea typeface="+mn-ea"/>
                <a:cs typeface="+mn-cs"/>
              </a:rPr>
              <a:t>DMS</a:t>
            </a:r>
          </a:p>
        </p:txBody>
      </p:sp>
      <p:sp>
        <p:nvSpPr>
          <p:cNvPr id="322" name="Rounded Rectangle 106">
            <a:extLst>
              <a:ext uri="{FF2B5EF4-FFF2-40B4-BE49-F238E27FC236}">
                <a16:creationId xmlns:a16="http://schemas.microsoft.com/office/drawing/2014/main" id="{DA0C235A-CDF8-4180-AB1C-DE9C73BA0EBB}"/>
              </a:ext>
            </a:extLst>
          </p:cNvPr>
          <p:cNvSpPr/>
          <p:nvPr/>
        </p:nvSpPr>
        <p:spPr>
          <a:xfrm>
            <a:off x="5544836" y="1480317"/>
            <a:ext cx="3125136" cy="1249237"/>
          </a:xfrm>
          <a:prstGeom prst="roundRect">
            <a:avLst/>
          </a:prstGeom>
          <a:solidFill>
            <a:srgbClr val="AB86C7"/>
          </a:solidFill>
          <a:ln w="10795" cap="flat" cmpd="sng" algn="ctr">
            <a:solidFill>
              <a:srgbClr val="AB86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a:ea typeface="+mn-ea"/>
                <a:cs typeface="+mn-cs"/>
              </a:rPr>
              <a:t>Data Movement Service (DMS)</a:t>
            </a:r>
            <a:br>
              <a:rPr kumimoji="0" lang="en-US" sz="1600" b="0" i="0" u="none" strike="noStrike" kern="0" cap="none" spc="0" normalizeH="0" baseline="0" noProof="0" dirty="0">
                <a:ln>
                  <a:noFill/>
                </a:ln>
                <a:solidFill>
                  <a:prstClr val="white"/>
                </a:solidFill>
                <a:effectLst/>
                <a:uLnTx/>
                <a:uFillTx/>
                <a:latin typeface="Segoe UI"/>
                <a:ea typeface="+mn-ea"/>
                <a:cs typeface="+mn-cs"/>
              </a:rPr>
            </a:br>
            <a:r>
              <a:rPr kumimoji="0" lang="en-US" sz="1600" b="0" i="0" u="none" strike="noStrike" kern="0" cap="none" spc="0" normalizeH="0" baseline="0" noProof="0" dirty="0">
                <a:ln>
                  <a:noFill/>
                </a:ln>
                <a:solidFill>
                  <a:prstClr val="white"/>
                </a:solidFill>
                <a:effectLst/>
                <a:uLnTx/>
                <a:uFillTx/>
                <a:latin typeface="Segoe UI"/>
                <a:ea typeface="+mn-ea"/>
                <a:cs typeface="+mn-cs"/>
              </a:rPr>
              <a:t>Runs on all nodes</a:t>
            </a:r>
          </a:p>
        </p:txBody>
      </p:sp>
      <p:sp>
        <p:nvSpPr>
          <p:cNvPr id="323" name="Freeform 59">
            <a:extLst>
              <a:ext uri="{FF2B5EF4-FFF2-40B4-BE49-F238E27FC236}">
                <a16:creationId xmlns:a16="http://schemas.microsoft.com/office/drawing/2014/main" id="{A2313586-505C-4D3F-95B4-0FEB26418E21}"/>
              </a:ext>
            </a:extLst>
          </p:cNvPr>
          <p:cNvSpPr/>
          <p:nvPr/>
        </p:nvSpPr>
        <p:spPr bwMode="auto">
          <a:xfrm>
            <a:off x="3182468" y="1385468"/>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ct val="0"/>
              </a:spcBef>
              <a:spcAft>
                <a:spcPct val="0"/>
              </a:spcAft>
              <a:buClrTx/>
              <a:buSzTx/>
              <a:buFontTx/>
              <a:buNone/>
              <a:tabLst/>
              <a:defRPr/>
            </a:pPr>
            <a:r>
              <a:rPr kumimoji="0" lang="en-IN" sz="105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SQL DB</a:t>
            </a:r>
          </a:p>
        </p:txBody>
      </p:sp>
    </p:spTree>
    <p:extLst>
      <p:ext uri="{BB962C8B-B14F-4D97-AF65-F5344CB8AC3E}">
        <p14:creationId xmlns:p14="http://schemas.microsoft.com/office/powerpoint/2010/main" val="3099451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469FB-D4E1-4152-B40C-E192A0E49010}"/>
              </a:ext>
            </a:extLst>
          </p:cNvPr>
          <p:cNvSpPr>
            <a:spLocks noGrp="1"/>
          </p:cNvSpPr>
          <p:nvPr>
            <p:ph type="title"/>
          </p:nvPr>
        </p:nvSpPr>
        <p:spPr/>
        <p:txBody>
          <a:bodyPr/>
          <a:lstStyle/>
          <a:p>
            <a:r>
              <a:rPr lang="en-US" dirty="0" err="1"/>
              <a:t>Polybase</a:t>
            </a:r>
            <a:r>
              <a:rPr lang="en-US" dirty="0"/>
              <a:t>	</a:t>
            </a:r>
          </a:p>
        </p:txBody>
      </p:sp>
      <p:sp>
        <p:nvSpPr>
          <p:cNvPr id="3" name="Content Placeholder 2">
            <a:extLst>
              <a:ext uri="{FF2B5EF4-FFF2-40B4-BE49-F238E27FC236}">
                <a16:creationId xmlns:a16="http://schemas.microsoft.com/office/drawing/2014/main" id="{2D3EAB89-C250-4FEF-BFB1-902DA226B28D}"/>
              </a:ext>
            </a:extLst>
          </p:cNvPr>
          <p:cNvSpPr>
            <a:spLocks noGrp="1"/>
          </p:cNvSpPr>
          <p:nvPr>
            <p:ph sz="quarter" idx="10"/>
          </p:nvPr>
        </p:nvSpPr>
        <p:spPr/>
        <p:txBody>
          <a:bodyPr/>
          <a:lstStyle/>
          <a:p>
            <a:r>
              <a:rPr lang="en-US" dirty="0"/>
              <a:t>Technology to enable data access outside of the database via the t-</a:t>
            </a:r>
            <a:r>
              <a:rPr lang="en-US" dirty="0" err="1"/>
              <a:t>sql</a:t>
            </a:r>
            <a:r>
              <a:rPr lang="en-US" dirty="0"/>
              <a:t> language</a:t>
            </a:r>
          </a:p>
          <a:p>
            <a:r>
              <a:rPr lang="en-US" dirty="0"/>
              <a:t>Allows running queries on external data in Hadoop and import/export Hadoop data – SQL Server 2016</a:t>
            </a:r>
          </a:p>
          <a:p>
            <a:r>
              <a:rPr lang="en-US" dirty="0"/>
              <a:t>Import/export data to and from Azure Blob Storage and Azure Data Lake Store into Azure SQL Data Warehouse </a:t>
            </a:r>
          </a:p>
          <a:p>
            <a:r>
              <a:rPr lang="en-US" dirty="0"/>
              <a:t>Parallelizes the import/export to achieve high performance</a:t>
            </a:r>
          </a:p>
          <a:p>
            <a:endParaRPr lang="en-US" dirty="0"/>
          </a:p>
        </p:txBody>
      </p:sp>
    </p:spTree>
    <p:extLst>
      <p:ext uri="{BB962C8B-B14F-4D97-AF65-F5344CB8AC3E}">
        <p14:creationId xmlns:p14="http://schemas.microsoft.com/office/powerpoint/2010/main" val="2658258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322536444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136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30D9A-6099-4F43-8794-8DF577F6DB5D}"/>
              </a:ext>
            </a:extLst>
          </p:cNvPr>
          <p:cNvSpPr>
            <a:spLocks noGrp="1"/>
          </p:cNvSpPr>
          <p:nvPr>
            <p:ph type="title"/>
          </p:nvPr>
        </p:nvSpPr>
        <p:spPr/>
        <p:txBody>
          <a:bodyPr/>
          <a:lstStyle/>
          <a:p>
            <a:r>
              <a:rPr lang="en-US" dirty="0"/>
              <a:t>Where will you land the big data</a:t>
            </a:r>
          </a:p>
        </p:txBody>
      </p:sp>
      <p:sp>
        <p:nvSpPr>
          <p:cNvPr id="3" name="Content Placeholder 2">
            <a:extLst>
              <a:ext uri="{FF2B5EF4-FFF2-40B4-BE49-F238E27FC236}">
                <a16:creationId xmlns:a16="http://schemas.microsoft.com/office/drawing/2014/main" id="{C8C8649E-9392-4108-B44D-D227662E22A6}"/>
              </a:ext>
            </a:extLst>
          </p:cNvPr>
          <p:cNvSpPr>
            <a:spLocks noGrp="1"/>
          </p:cNvSpPr>
          <p:nvPr>
            <p:ph sz="quarter" idx="10"/>
          </p:nvPr>
        </p:nvSpPr>
        <p:spPr/>
        <p:txBody>
          <a:bodyPr/>
          <a:lstStyle/>
          <a:p>
            <a:r>
              <a:rPr lang="en-US" dirty="0"/>
              <a:t>Storage  </a:t>
            </a:r>
          </a:p>
          <a:p>
            <a:pPr lvl="1"/>
            <a:r>
              <a:rPr lang="en-US" dirty="0"/>
              <a:t>Azure Storage</a:t>
            </a:r>
          </a:p>
          <a:p>
            <a:pPr lvl="2"/>
            <a:r>
              <a:rPr lang="en-US" dirty="0"/>
              <a:t>Blob </a:t>
            </a:r>
          </a:p>
          <a:p>
            <a:pPr lvl="2"/>
            <a:r>
              <a:rPr lang="en-US" dirty="0"/>
              <a:t>Table </a:t>
            </a:r>
          </a:p>
          <a:p>
            <a:pPr lvl="2"/>
            <a:r>
              <a:rPr lang="en-US" dirty="0"/>
              <a:t>File </a:t>
            </a:r>
          </a:p>
          <a:p>
            <a:pPr lvl="2"/>
            <a:r>
              <a:rPr lang="en-US" dirty="0"/>
              <a:t>Queue</a:t>
            </a:r>
          </a:p>
          <a:p>
            <a:pPr lvl="1"/>
            <a:r>
              <a:rPr lang="en-US" dirty="0"/>
              <a:t>HDFS</a:t>
            </a:r>
          </a:p>
          <a:p>
            <a:pPr lvl="1"/>
            <a:r>
              <a:rPr lang="en-US" dirty="0"/>
              <a:t>Azure Data Lake Store</a:t>
            </a:r>
          </a:p>
        </p:txBody>
      </p:sp>
    </p:spTree>
    <p:extLst>
      <p:ext uri="{BB962C8B-B14F-4D97-AF65-F5344CB8AC3E}">
        <p14:creationId xmlns:p14="http://schemas.microsoft.com/office/powerpoint/2010/main" val="3176580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Tier Types – Standard &amp; Premium</a:t>
            </a:r>
          </a:p>
        </p:txBody>
      </p:sp>
      <p:sp>
        <p:nvSpPr>
          <p:cNvPr id="6" name="Content Placeholder 5"/>
          <p:cNvSpPr>
            <a:spLocks noGrp="1"/>
          </p:cNvSpPr>
          <p:nvPr>
            <p:ph sz="quarter" idx="10"/>
          </p:nvPr>
        </p:nvSpPr>
        <p:spPr/>
        <p:txBody>
          <a:bodyPr/>
          <a:lstStyle/>
          <a:p>
            <a:pPr lvl="1"/>
            <a:endParaRPr lang="en-US" dirty="0"/>
          </a:p>
          <a:p>
            <a:pPr lvl="1"/>
            <a:endParaRPr lang="en-US" dirty="0"/>
          </a:p>
          <a:p>
            <a:pPr lvl="1"/>
            <a:endParaRPr lang="en-US" dirty="0"/>
          </a:p>
          <a:p>
            <a:pPr lvl="1"/>
            <a:r>
              <a:rPr lang="en-US" dirty="0"/>
              <a:t>Blob Storage stores unstructured object data (</a:t>
            </a:r>
            <a:r>
              <a:rPr lang="en-US" dirty="0" err="1"/>
              <a:t>Block,Page,Append</a:t>
            </a:r>
            <a:r>
              <a:rPr lang="en-US" dirty="0"/>
              <a:t> Blob)</a:t>
            </a:r>
          </a:p>
          <a:p>
            <a:pPr lvl="1"/>
            <a:r>
              <a:rPr lang="en-US" dirty="0"/>
              <a:t>Table Storage stores structured datasets (NoSQL key value store)</a:t>
            </a:r>
          </a:p>
          <a:p>
            <a:pPr lvl="1"/>
            <a:r>
              <a:rPr lang="en-US" dirty="0"/>
              <a:t>Queue Storage provides reliable messaging at scale for cloud services.</a:t>
            </a:r>
          </a:p>
          <a:p>
            <a:pPr lvl="1"/>
            <a:r>
              <a:rPr lang="en-US" dirty="0"/>
              <a:t>File Storage offers shared storage for legacy applications using the standard SMB protocol</a:t>
            </a:r>
          </a:p>
          <a:p>
            <a:pPr lvl="1"/>
            <a:r>
              <a:rPr lang="en-US" dirty="0"/>
              <a:t>Disks are Premium Persistent Disks for Azure IaaS (Windows &amp; Linux </a:t>
            </a:r>
            <a:r>
              <a:rPr lang="en-US" dirty="0" err="1"/>
              <a:t>Vm’s</a:t>
            </a:r>
            <a:r>
              <a:rPr lang="en-US" dirty="0"/>
              <a:t>) - SSD, high IOPS, low latency</a:t>
            </a:r>
          </a:p>
          <a:p>
            <a:pPr lvl="1"/>
            <a:endParaRPr lang="en-US" dirty="0"/>
          </a:p>
          <a:p>
            <a:pPr marL="0" indent="0">
              <a:buNone/>
            </a:pPr>
            <a:br>
              <a:rPr lang="en-US" dirty="0"/>
            </a:b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7630" y="1060637"/>
            <a:ext cx="2997853" cy="1809728"/>
          </a:xfrm>
          <a:prstGeom prst="rect">
            <a:avLst/>
          </a:prstGeom>
        </p:spPr>
      </p:pic>
    </p:spTree>
    <p:extLst>
      <p:ext uri="{BB962C8B-B14F-4D97-AF65-F5344CB8AC3E}">
        <p14:creationId xmlns:p14="http://schemas.microsoft.com/office/powerpoint/2010/main" val="47629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Availability, Durability</a:t>
            </a:r>
          </a:p>
        </p:txBody>
      </p:sp>
      <p:sp>
        <p:nvSpPr>
          <p:cNvPr id="6" name="Content Placeholder 5"/>
          <p:cNvSpPr>
            <a:spLocks noGrp="1"/>
          </p:cNvSpPr>
          <p:nvPr>
            <p:ph sz="quarter" idx="10"/>
          </p:nvPr>
        </p:nvSpPr>
        <p:spPr/>
        <p:txBody>
          <a:bodyPr/>
          <a:lstStyle/>
          <a:p>
            <a:pPr lvl="1"/>
            <a:r>
              <a:rPr lang="en-US" b="1" dirty="0"/>
              <a:t>Locally redundant storage (LRS).</a:t>
            </a:r>
            <a:r>
              <a:rPr lang="en-US" dirty="0"/>
              <a:t> maintains 3 copies of data, replicates 3 times within a single facility in a single region. </a:t>
            </a:r>
          </a:p>
          <a:p>
            <a:pPr lvl="1"/>
            <a:r>
              <a:rPr lang="en-US" b="1" dirty="0"/>
              <a:t>Zone-redundant storage (ZRS).</a:t>
            </a:r>
            <a:r>
              <a:rPr lang="en-US" dirty="0"/>
              <a:t> maintains 3 copies of data. ZRS is replicates 3 times across 2-3 facilities, either within a single region or across two regions</a:t>
            </a:r>
          </a:p>
          <a:p>
            <a:pPr lvl="1"/>
            <a:r>
              <a:rPr lang="en-US" b="1" dirty="0"/>
              <a:t>Geo-redundant storage (GRS)</a:t>
            </a:r>
            <a:r>
              <a:rPr lang="en-US" dirty="0"/>
              <a:t>. maintains 6 copies of your data. replicates 3 within the primary region, and is also replicated 3 times in a secondary region</a:t>
            </a:r>
          </a:p>
          <a:p>
            <a:pPr lvl="1"/>
            <a:r>
              <a:rPr lang="en-US" b="1" dirty="0"/>
              <a:t>Read access geo-redundant storage (RA-GRS)</a:t>
            </a:r>
            <a:r>
              <a:rPr lang="en-US" dirty="0"/>
              <a:t>. replicates data to a secondary geographic location also provides read access in the secondary location </a:t>
            </a:r>
          </a:p>
        </p:txBody>
      </p:sp>
    </p:spTree>
    <p:extLst>
      <p:ext uri="{BB962C8B-B14F-4D97-AF65-F5344CB8AC3E}">
        <p14:creationId xmlns:p14="http://schemas.microsoft.com/office/powerpoint/2010/main" val="19692387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0D014-9EF4-4506-B574-1E6B08CF07C9}"/>
              </a:ext>
            </a:extLst>
          </p:cNvPr>
          <p:cNvSpPr>
            <a:spLocks noGrp="1"/>
          </p:cNvSpPr>
          <p:nvPr>
            <p:ph type="title"/>
          </p:nvPr>
        </p:nvSpPr>
        <p:spPr/>
        <p:txBody>
          <a:bodyPr/>
          <a:lstStyle/>
          <a:p>
            <a:r>
              <a:rPr lang="en-US" dirty="0"/>
              <a:t>Azure Data Lake Store</a:t>
            </a:r>
          </a:p>
        </p:txBody>
      </p:sp>
      <p:sp>
        <p:nvSpPr>
          <p:cNvPr id="3" name="Content Placeholder 2">
            <a:extLst>
              <a:ext uri="{FF2B5EF4-FFF2-40B4-BE49-F238E27FC236}">
                <a16:creationId xmlns:a16="http://schemas.microsoft.com/office/drawing/2014/main" id="{25DB7D90-8AE3-4D94-A946-7D475C639734}"/>
              </a:ext>
            </a:extLst>
          </p:cNvPr>
          <p:cNvSpPr>
            <a:spLocks noGrp="1"/>
          </p:cNvSpPr>
          <p:nvPr>
            <p:ph sz="quarter" idx="10"/>
          </p:nvPr>
        </p:nvSpPr>
        <p:spPr/>
        <p:txBody>
          <a:bodyPr/>
          <a:lstStyle/>
          <a:p>
            <a:r>
              <a:rPr lang="en-US" dirty="0"/>
              <a:t>Petabyte size storage offering</a:t>
            </a:r>
          </a:p>
          <a:p>
            <a:r>
              <a:rPr lang="en-US" dirty="0"/>
              <a:t>Allows storage of large number of files as well as large sizes</a:t>
            </a:r>
          </a:p>
          <a:p>
            <a:r>
              <a:rPr lang="en-US" dirty="0"/>
              <a:t>Scalable throughput for Massively parallel analytics</a:t>
            </a:r>
          </a:p>
          <a:p>
            <a:r>
              <a:rPr lang="en-US" dirty="0"/>
              <a:t>HDFS for the cloud</a:t>
            </a:r>
          </a:p>
          <a:p>
            <a:r>
              <a:rPr lang="en-US" dirty="0"/>
              <a:t>Authentication and authorization using AAD</a:t>
            </a:r>
          </a:p>
          <a:p>
            <a:r>
              <a:rPr lang="en-US" dirty="0"/>
              <a:t>Folder level and file level RWX permissions</a:t>
            </a:r>
          </a:p>
        </p:txBody>
      </p:sp>
    </p:spTree>
    <p:extLst>
      <p:ext uri="{BB962C8B-B14F-4D97-AF65-F5344CB8AC3E}">
        <p14:creationId xmlns:p14="http://schemas.microsoft.com/office/powerpoint/2010/main" val="4986765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ig data batch Processing</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pPr marL="0" indent="0">
              <a:buNone/>
            </a:pPr>
            <a:endParaRPr lang="en-US" dirty="0">
              <a:latin typeface="+mn-lt"/>
            </a:endParaRPr>
          </a:p>
          <a:p>
            <a:r>
              <a:rPr lang="en-US" dirty="0"/>
              <a:t>Cold path in the Big Data Lambda Architecture</a:t>
            </a:r>
          </a:p>
          <a:p>
            <a:r>
              <a:rPr lang="en-US" dirty="0"/>
              <a:t>Map reduce programming model - </a:t>
            </a:r>
            <a:r>
              <a:rPr lang="en-US" dirty="0" err="1"/>
              <a:t>hadoop</a:t>
            </a:r>
            <a:endParaRPr lang="en-US" dirty="0"/>
          </a:p>
          <a:p>
            <a:r>
              <a:rPr lang="en-US" dirty="0"/>
              <a:t>Very efficient in processing high volume data</a:t>
            </a:r>
          </a:p>
          <a:p>
            <a:r>
              <a:rPr lang="en-US" dirty="0"/>
              <a:t>High Latency</a:t>
            </a:r>
          </a:p>
          <a:p>
            <a:r>
              <a:rPr lang="en-US" dirty="0"/>
              <a:t>Master data (read-only)</a:t>
            </a:r>
          </a:p>
          <a:p>
            <a:pPr marL="0" indent="0">
              <a:buNone/>
            </a:pPr>
            <a:endParaRPr lang="en-US" dirty="0">
              <a:latin typeface="+mn-lt"/>
            </a:endParaRPr>
          </a:p>
        </p:txBody>
      </p:sp>
    </p:spTree>
    <p:extLst>
      <p:ext uri="{BB962C8B-B14F-4D97-AF65-F5344CB8AC3E}">
        <p14:creationId xmlns:p14="http://schemas.microsoft.com/office/powerpoint/2010/main" val="2563065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356A4-C0A8-4DF5-BF2E-65B1E6DEBA8C}"/>
              </a:ext>
            </a:extLst>
          </p:cNvPr>
          <p:cNvSpPr>
            <a:spLocks noGrp="1"/>
          </p:cNvSpPr>
          <p:nvPr>
            <p:ph type="title"/>
          </p:nvPr>
        </p:nvSpPr>
        <p:spPr/>
        <p:txBody>
          <a:bodyPr/>
          <a:lstStyle/>
          <a:p>
            <a:r>
              <a:rPr lang="en-US" dirty="0"/>
              <a:t>HDFS – What is it?</a:t>
            </a:r>
          </a:p>
        </p:txBody>
      </p:sp>
      <p:sp>
        <p:nvSpPr>
          <p:cNvPr id="3" name="Content Placeholder 2">
            <a:extLst>
              <a:ext uri="{FF2B5EF4-FFF2-40B4-BE49-F238E27FC236}">
                <a16:creationId xmlns:a16="http://schemas.microsoft.com/office/drawing/2014/main" id="{5D558EEF-62B7-450B-BCCB-7DD77654581D}"/>
              </a:ext>
            </a:extLst>
          </p:cNvPr>
          <p:cNvSpPr>
            <a:spLocks noGrp="1"/>
          </p:cNvSpPr>
          <p:nvPr>
            <p:ph sz="quarter" idx="10"/>
          </p:nvPr>
        </p:nvSpPr>
        <p:spPr>
          <a:xfrm>
            <a:off x="379413" y="807720"/>
            <a:ext cx="11525250" cy="5870894"/>
          </a:xfrm>
        </p:spPr>
        <p:txBody>
          <a:bodyPr/>
          <a:lstStyle/>
          <a:p>
            <a:r>
              <a:rPr lang="en-US" dirty="0"/>
              <a:t>A scalable, reliable and highly distributed file system to store structured and unstructured data</a:t>
            </a:r>
          </a:p>
          <a:p>
            <a:r>
              <a:rPr lang="en-US" sz="1800" dirty="0"/>
              <a:t>A open-source Apache Project</a:t>
            </a:r>
          </a:p>
          <a:p>
            <a:r>
              <a:rPr lang="en-US" sz="1800" dirty="0"/>
              <a:t>Optimized for high throughput of data access rather than low latency of data access.</a:t>
            </a:r>
          </a:p>
          <a:p>
            <a:r>
              <a:rPr lang="en-US" sz="1800" dirty="0"/>
              <a:t>Data is organized into files and directories</a:t>
            </a:r>
          </a:p>
          <a:p>
            <a:r>
              <a:rPr lang="en-US" sz="1800" dirty="0"/>
              <a:t>Files are divided into uniform size block and divided across cluster nodes</a:t>
            </a:r>
          </a:p>
          <a:p>
            <a:r>
              <a:rPr lang="en-US" sz="1800" dirty="0"/>
              <a:t>Data blocks are re-balanced (using different models)</a:t>
            </a:r>
          </a:p>
          <a:p>
            <a:r>
              <a:rPr lang="en-US" sz="1800" dirty="0"/>
              <a:t>Block placement is exposed to application so that computation can be place close to the data (enables the “Move the Computation to the Data” philosophy”)</a:t>
            </a:r>
          </a:p>
          <a:p>
            <a:r>
              <a:rPr lang="en-US" sz="1800" dirty="0"/>
              <a:t>Blocks are replicated (default 3) to handle failures and for performance</a:t>
            </a:r>
          </a:p>
          <a:p>
            <a:r>
              <a:rPr lang="en-US" sz="1800" dirty="0"/>
              <a:t>Checksums for corruption detection and recovery</a:t>
            </a:r>
          </a:p>
          <a:p>
            <a:r>
              <a:rPr lang="en-US" sz="1800" dirty="0"/>
              <a:t>POSIX-style permissions and access control model</a:t>
            </a:r>
          </a:p>
          <a:p>
            <a:endParaRPr lang="en-US" dirty="0"/>
          </a:p>
        </p:txBody>
      </p:sp>
    </p:spTree>
    <p:extLst>
      <p:ext uri="{BB962C8B-B14F-4D97-AF65-F5344CB8AC3E}">
        <p14:creationId xmlns:p14="http://schemas.microsoft.com/office/powerpoint/2010/main" val="3174308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Size</a:t>
            </a:r>
          </a:p>
        </p:txBody>
      </p:sp>
      <p:sp>
        <p:nvSpPr>
          <p:cNvPr id="6" name="Content Placeholder 5"/>
          <p:cNvSpPr>
            <a:spLocks noGrp="1"/>
          </p:cNvSpPr>
          <p:nvPr>
            <p:ph sz="quarter" idx="10"/>
          </p:nvPr>
        </p:nvSpPr>
        <p:spPr/>
        <p:txBody>
          <a:bodyPr/>
          <a:lstStyle/>
          <a:p>
            <a:r>
              <a:rPr lang="en-US" dirty="0"/>
              <a:t>Balance on CPU (Workload Type) and IO Throughput need</a:t>
            </a:r>
          </a:p>
          <a:p>
            <a:r>
              <a:rPr lang="en-US" dirty="0"/>
              <a:t>Depends on scenario</a:t>
            </a:r>
          </a:p>
          <a:p>
            <a:pPr lvl="1"/>
            <a:r>
              <a:rPr lang="en-US" dirty="0"/>
              <a:t>Let's assume your cluster has 50 task slots. Let's for simplicity assume that your task needs 5 minutes to analyze 128 MB and 1 minute to set up a map task.</a:t>
            </a:r>
          </a:p>
          <a:p>
            <a:pPr lvl="1"/>
            <a:r>
              <a:rPr lang="en-US" dirty="0"/>
              <a:t>You want to analyze 1.28GB of data. Your job will need 10 tasks that can run in parallel. In total, your job takes 5+1 minutes = 6 minutes.</a:t>
            </a:r>
          </a:p>
          <a:p>
            <a:pPr lvl="1"/>
            <a:r>
              <a:rPr lang="en-US" dirty="0"/>
              <a:t>If you use 256MB blocks you only need 5 tasks but they will each take twice as long. The job will take 10+1 = 11 minutes and will be slower. So </a:t>
            </a:r>
            <a:r>
              <a:rPr lang="en-US" b="1" dirty="0"/>
              <a:t>128MB blocks are faster</a:t>
            </a:r>
            <a:r>
              <a:rPr lang="en-US" dirty="0"/>
              <a:t>.</a:t>
            </a:r>
          </a:p>
          <a:p>
            <a:pPr marL="457046" lvl="1" indent="0">
              <a:buNone/>
            </a:pPr>
            <a:endParaRPr lang="en-US" dirty="0"/>
          </a:p>
        </p:txBody>
      </p:sp>
    </p:spTree>
    <p:extLst>
      <p:ext uri="{BB962C8B-B14F-4D97-AF65-F5344CB8AC3E}">
        <p14:creationId xmlns:p14="http://schemas.microsoft.com/office/powerpoint/2010/main" val="3918739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lication Factor, File Size</a:t>
            </a:r>
          </a:p>
        </p:txBody>
      </p:sp>
      <p:sp>
        <p:nvSpPr>
          <p:cNvPr id="6" name="Content Placeholder 5"/>
          <p:cNvSpPr>
            <a:spLocks noGrp="1"/>
          </p:cNvSpPr>
          <p:nvPr>
            <p:ph sz="quarter" idx="10"/>
          </p:nvPr>
        </p:nvSpPr>
        <p:spPr/>
        <p:txBody>
          <a:bodyPr/>
          <a:lstStyle/>
          <a:p>
            <a:pPr lvl="1"/>
            <a:r>
              <a:rPr lang="en-US" dirty="0"/>
              <a:t>Keep at least 3 copies. Replication used for availability and performance</a:t>
            </a:r>
          </a:p>
          <a:p>
            <a:pPr lvl="1"/>
            <a:endParaRPr lang="en-US" dirty="0"/>
          </a:p>
          <a:p>
            <a:pPr lvl="1"/>
            <a:r>
              <a:rPr lang="en-US" dirty="0"/>
              <a:t>Avoid lots of small files </a:t>
            </a:r>
          </a:p>
          <a:p>
            <a:pPr lvl="2"/>
            <a:r>
              <a:rPr lang="en-US" dirty="0"/>
              <a:t>Impact on name node</a:t>
            </a:r>
          </a:p>
          <a:p>
            <a:pPr lvl="2"/>
            <a:r>
              <a:rPr lang="en-US" dirty="0"/>
              <a:t>Impact on administrative overhead per job</a:t>
            </a:r>
          </a:p>
          <a:p>
            <a:pPr marL="0" indent="0">
              <a:buNone/>
            </a:pPr>
            <a:br>
              <a:rPr lang="en-US" dirty="0"/>
            </a:br>
            <a:endParaRPr lang="en-US" dirty="0"/>
          </a:p>
        </p:txBody>
      </p:sp>
    </p:spTree>
    <p:extLst>
      <p:ext uri="{BB962C8B-B14F-4D97-AF65-F5344CB8AC3E}">
        <p14:creationId xmlns:p14="http://schemas.microsoft.com/office/powerpoint/2010/main" val="38360251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90855-84D4-4D7F-91BB-1811414C7AE3}"/>
              </a:ext>
            </a:extLst>
          </p:cNvPr>
          <p:cNvSpPr>
            <a:spLocks noGrp="1"/>
          </p:cNvSpPr>
          <p:nvPr>
            <p:ph type="title"/>
          </p:nvPr>
        </p:nvSpPr>
        <p:spPr/>
        <p:txBody>
          <a:bodyPr/>
          <a:lstStyle/>
          <a:p>
            <a:r>
              <a:rPr lang="en-US" dirty="0"/>
              <a:t>How will you load data</a:t>
            </a:r>
          </a:p>
        </p:txBody>
      </p:sp>
      <p:sp>
        <p:nvSpPr>
          <p:cNvPr id="4" name="Content Placeholder 3">
            <a:extLst>
              <a:ext uri="{FF2B5EF4-FFF2-40B4-BE49-F238E27FC236}">
                <a16:creationId xmlns:a16="http://schemas.microsoft.com/office/drawing/2014/main" id="{5740E8AD-3880-41D3-86D7-B3C151E1DCC9}"/>
              </a:ext>
            </a:extLst>
          </p:cNvPr>
          <p:cNvSpPr txBox="1">
            <a:spLocks noGrp="1"/>
          </p:cNvSpPr>
          <p:nvPr>
            <p:ph sz="quarter" idx="10"/>
          </p:nvPr>
        </p:nvSpPr>
        <p:spPr>
          <a:xfrm>
            <a:off x="379413" y="1388226"/>
            <a:ext cx="2180907" cy="2674578"/>
          </a:xfrm>
          <a:prstGeom prst="rect">
            <a:avLst/>
          </a:prstGeom>
          <a:noFill/>
          <a:ln>
            <a:solidFill>
              <a:schemeClr val="bg2">
                <a:lumMod val="75000"/>
              </a:schemeClr>
            </a:solid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light"/>
                <a:ea typeface="+mn-ea"/>
                <a:cs typeface="+mn-cs"/>
              </a:rPr>
              <a:t>Interactiv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PowerShell</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AZ Cop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X-plat CLI</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Visual Studio</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Hadoop fs Command Line</a:t>
            </a:r>
          </a:p>
        </p:txBody>
      </p:sp>
      <p:sp>
        <p:nvSpPr>
          <p:cNvPr id="5" name="TextBox 4">
            <a:extLst>
              <a:ext uri="{FF2B5EF4-FFF2-40B4-BE49-F238E27FC236}">
                <a16:creationId xmlns:a16="http://schemas.microsoft.com/office/drawing/2014/main" id="{AD673B10-DC41-4DF9-A1B3-F22AE3925DD0}"/>
              </a:ext>
            </a:extLst>
          </p:cNvPr>
          <p:cNvSpPr txBox="1"/>
          <p:nvPr/>
        </p:nvSpPr>
        <p:spPr>
          <a:xfrm>
            <a:off x="3052600" y="1388226"/>
            <a:ext cx="2682209" cy="2043636"/>
          </a:xfrm>
          <a:prstGeom prst="rect">
            <a:avLst/>
          </a:prstGeom>
          <a:noFill/>
          <a:ln>
            <a:solidFill>
              <a:schemeClr val="bg2">
                <a:lumMod val="75000"/>
              </a:schemeClr>
            </a:solid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light"/>
                <a:ea typeface="+mn-ea"/>
                <a:cs typeface="+mn-cs"/>
              </a:rPr>
              <a:t>Autom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ADF</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SSI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PowerShell</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Custom (Azure SDK)</a:t>
            </a:r>
          </a:p>
        </p:txBody>
      </p:sp>
      <p:sp>
        <p:nvSpPr>
          <p:cNvPr id="6" name="TextBox 5">
            <a:extLst>
              <a:ext uri="{FF2B5EF4-FFF2-40B4-BE49-F238E27FC236}">
                <a16:creationId xmlns:a16="http://schemas.microsoft.com/office/drawing/2014/main" id="{1D6E3704-F23A-40CC-BFEC-CC30B431DDF0}"/>
              </a:ext>
            </a:extLst>
          </p:cNvPr>
          <p:cNvSpPr txBox="1"/>
          <p:nvPr/>
        </p:nvSpPr>
        <p:spPr>
          <a:xfrm>
            <a:off x="5978681" y="1389765"/>
            <a:ext cx="1900400" cy="1335750"/>
          </a:xfrm>
          <a:prstGeom prst="rect">
            <a:avLst/>
          </a:prstGeom>
          <a:noFill/>
          <a:ln>
            <a:solidFill>
              <a:schemeClr val="bg2">
                <a:lumMod val="75000"/>
              </a:schemeClr>
            </a:solid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light"/>
                <a:ea typeface="+mn-ea"/>
                <a:cs typeface="+mn-cs"/>
              </a:rPr>
              <a:t>Log Fil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Flu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SSIS</a:t>
            </a:r>
          </a:p>
        </p:txBody>
      </p:sp>
      <p:sp>
        <p:nvSpPr>
          <p:cNvPr id="7" name="TextBox 6">
            <a:extLst>
              <a:ext uri="{FF2B5EF4-FFF2-40B4-BE49-F238E27FC236}">
                <a16:creationId xmlns:a16="http://schemas.microsoft.com/office/drawing/2014/main" id="{5B8EFB12-1067-42D3-B35D-055CD7B5CDEE}"/>
              </a:ext>
            </a:extLst>
          </p:cNvPr>
          <p:cNvSpPr txBox="1"/>
          <p:nvPr/>
        </p:nvSpPr>
        <p:spPr>
          <a:xfrm>
            <a:off x="8122953" y="1388226"/>
            <a:ext cx="2682209" cy="2043636"/>
          </a:xfrm>
          <a:prstGeom prst="rect">
            <a:avLst/>
          </a:prstGeom>
          <a:noFill/>
          <a:ln>
            <a:solidFill>
              <a:schemeClr val="bg2">
                <a:lumMod val="75000"/>
              </a:schemeClr>
            </a:solid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light"/>
                <a:ea typeface="+mn-ea"/>
                <a:cs typeface="+mn-cs"/>
              </a:rPr>
              <a:t>Relational</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err="1">
                <a:ln>
                  <a:noFill/>
                </a:ln>
                <a:solidFill>
                  <a:srgbClr val="0078D7"/>
                </a:solidFill>
                <a:effectLst/>
                <a:uLnTx/>
                <a:uFillTx/>
                <a:latin typeface="Segoe UI Semilight"/>
                <a:ea typeface="+mn-ea"/>
                <a:cs typeface="+mn-cs"/>
              </a:rPr>
              <a:t>Sqoop</a:t>
            </a:r>
            <a:endParaRPr kumimoji="0" lang="en-US" sz="2000" b="0" i="0" u="none" strike="noStrike" kern="0" cap="none" spc="0" normalizeH="0" baseline="0" noProof="0" dirty="0">
              <a:ln>
                <a:noFill/>
              </a:ln>
              <a:solidFill>
                <a:srgbClr val="0078D7"/>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Semilight"/>
                <a:ea typeface="+mn-ea"/>
                <a:cs typeface="+mn-cs"/>
              </a:rPr>
              <a:t>SSI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err="1">
                <a:ln>
                  <a:noFill/>
                </a:ln>
                <a:solidFill>
                  <a:srgbClr val="0078D7"/>
                </a:solidFill>
                <a:effectLst/>
                <a:uLnTx/>
                <a:uFillTx/>
                <a:latin typeface="Segoe UI Semilight"/>
                <a:ea typeface="+mn-ea"/>
                <a:cs typeface="+mn-cs"/>
              </a:rPr>
              <a:t>Polybase</a:t>
            </a:r>
            <a:r>
              <a:rPr kumimoji="0" lang="en-US" sz="2000" b="0" i="0" u="none" strike="noStrike" kern="0" cap="none" spc="0" normalizeH="0" baseline="0" noProof="0" dirty="0">
                <a:ln>
                  <a:noFill/>
                </a:ln>
                <a:solidFill>
                  <a:srgbClr val="0078D7"/>
                </a:solidFill>
                <a:effectLst/>
                <a:uLnTx/>
                <a:uFillTx/>
                <a:latin typeface="Segoe UI Semilight"/>
                <a:ea typeface="+mn-ea"/>
                <a:cs typeface="+mn-cs"/>
              </a:rPr>
              <a:t> (APS)</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000" kern="0" dirty="0">
                <a:solidFill>
                  <a:srgbClr val="0078D7"/>
                </a:solidFill>
                <a:latin typeface="Segoe UI Semilight"/>
              </a:rPr>
              <a:t>ADF</a:t>
            </a:r>
            <a:endParaRPr kumimoji="0" lang="en-US" sz="2000" b="0" i="0" u="none" strike="noStrike" kern="0" cap="none" spc="0" normalizeH="0" baseline="0" noProof="0" dirty="0">
              <a:ln>
                <a:noFill/>
              </a:ln>
              <a:solidFill>
                <a:srgbClr val="0078D7"/>
              </a:solidFill>
              <a:effectLst/>
              <a:uLnTx/>
              <a:uFillTx/>
              <a:latin typeface="Segoe UI Semilight"/>
              <a:ea typeface="+mn-ea"/>
              <a:cs typeface="+mn-cs"/>
            </a:endParaRPr>
          </a:p>
        </p:txBody>
      </p:sp>
    </p:spTree>
    <p:extLst>
      <p:ext uri="{BB962C8B-B14F-4D97-AF65-F5344CB8AC3E}">
        <p14:creationId xmlns:p14="http://schemas.microsoft.com/office/powerpoint/2010/main" val="11569277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Data Ingestion</a:t>
            </a:r>
          </a:p>
        </p:txBody>
      </p:sp>
      <p:sp>
        <p:nvSpPr>
          <p:cNvPr id="7" name="Content Placeholder 6"/>
          <p:cNvSpPr>
            <a:spLocks noGrp="1"/>
          </p:cNvSpPr>
          <p:nvPr>
            <p:ph sz="quarter" idx="10"/>
          </p:nvPr>
        </p:nvSpPr>
        <p:spPr>
          <a:xfrm>
            <a:off x="379413" y="866728"/>
            <a:ext cx="11525250" cy="5705522"/>
          </a:xfrm>
        </p:spPr>
        <p:txBody>
          <a:bodyPr/>
          <a:lstStyle/>
          <a:p>
            <a:r>
              <a:rPr lang="en-US" dirty="0"/>
              <a:t>UI-based Tools</a:t>
            </a:r>
          </a:p>
          <a:p>
            <a:r>
              <a:rPr lang="en-US" dirty="0"/>
              <a:t>Code Supplier tool</a:t>
            </a:r>
          </a:p>
          <a:p>
            <a:r>
              <a:rPr lang="en-US" dirty="0" err="1"/>
              <a:t>Powershell</a:t>
            </a:r>
            <a:r>
              <a:rPr lang="en-US" dirty="0"/>
              <a:t> Commands</a:t>
            </a:r>
          </a:p>
          <a:p>
            <a:r>
              <a:rPr lang="en-US" dirty="0"/>
              <a:t>The Hadoop fs</a:t>
            </a:r>
          </a:p>
          <a:p>
            <a:r>
              <a:rPr lang="en-US" dirty="0"/>
              <a:t>Command line tool</a:t>
            </a:r>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24</a:t>
            </a:fld>
            <a:endParaRPr lang="en-IN" sz="1765" kern="0" dirty="0">
              <a:solidFill>
                <a:sysClr val="windowText" lastClr="000000"/>
              </a:solidFill>
            </a:endParaRPr>
          </a:p>
        </p:txBody>
      </p:sp>
    </p:spTree>
    <p:extLst>
      <p:ext uri="{BB962C8B-B14F-4D97-AF65-F5344CB8AC3E}">
        <p14:creationId xmlns:p14="http://schemas.microsoft.com/office/powerpoint/2010/main" val="2657877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ading Relational Data</a:t>
            </a:r>
          </a:p>
        </p:txBody>
      </p:sp>
      <p:sp>
        <p:nvSpPr>
          <p:cNvPr id="7" name="Content Placeholder 6"/>
          <p:cNvSpPr>
            <a:spLocks noGrp="1"/>
          </p:cNvSpPr>
          <p:nvPr>
            <p:ph sz="quarter" idx="10"/>
          </p:nvPr>
        </p:nvSpPr>
        <p:spPr>
          <a:xfrm>
            <a:off x="379413" y="866728"/>
            <a:ext cx="11525250" cy="5705522"/>
          </a:xfrm>
        </p:spPr>
        <p:txBody>
          <a:bodyPr/>
          <a:lstStyle/>
          <a:p>
            <a:r>
              <a:rPr lang="en-US" dirty="0" err="1"/>
              <a:t>DataFactory</a:t>
            </a:r>
            <a:endParaRPr lang="en-US" dirty="0"/>
          </a:p>
          <a:p>
            <a:pPr lvl="1"/>
            <a:r>
              <a:rPr lang="en-US" dirty="0"/>
              <a:t>Connect to on-premises and cloud data sources</a:t>
            </a:r>
          </a:p>
          <a:p>
            <a:r>
              <a:rPr lang="en-US" dirty="0" err="1"/>
              <a:t>Sqoop</a:t>
            </a:r>
            <a:endParaRPr lang="en-US" dirty="0"/>
          </a:p>
          <a:p>
            <a:pPr lvl="1"/>
            <a:r>
              <a:rPr lang="en-US" dirty="0"/>
              <a:t>Extract required data from a table, view or query in the source </a:t>
            </a:r>
            <a:r>
              <a:rPr lang="en-US" dirty="0" err="1"/>
              <a:t>db</a:t>
            </a:r>
            <a:endParaRPr lang="en-US" dirty="0"/>
          </a:p>
          <a:p>
            <a:r>
              <a:rPr lang="en-US" dirty="0"/>
              <a:t>Interfaces that support connectivity to big data clusters</a:t>
            </a:r>
          </a:p>
          <a:p>
            <a:pPr lvl="1"/>
            <a:r>
              <a:rPr lang="en-IN" dirty="0" err="1"/>
              <a:t>Polybase</a:t>
            </a:r>
            <a:endParaRPr lang="en-IN" dirty="0"/>
          </a:p>
          <a:p>
            <a:pPr lvl="1"/>
            <a:endParaRPr lang="en-US" dirty="0"/>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25</a:t>
            </a:fld>
            <a:endParaRPr lang="en-IN" sz="1765" kern="0" dirty="0">
              <a:solidFill>
                <a:sysClr val="windowText" lastClr="000000"/>
              </a:solidFill>
            </a:endParaRPr>
          </a:p>
        </p:txBody>
      </p:sp>
    </p:spTree>
    <p:extLst>
      <p:ext uri="{BB962C8B-B14F-4D97-AF65-F5344CB8AC3E}">
        <p14:creationId xmlns:p14="http://schemas.microsoft.com/office/powerpoint/2010/main" val="19062029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52552545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78724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96677-291E-4399-8FB8-3556419B38DD}"/>
              </a:ext>
            </a:extLst>
          </p:cNvPr>
          <p:cNvSpPr>
            <a:spLocks noGrp="1"/>
          </p:cNvSpPr>
          <p:nvPr>
            <p:ph type="title"/>
          </p:nvPr>
        </p:nvSpPr>
        <p:spPr/>
        <p:txBody>
          <a:bodyPr/>
          <a:lstStyle/>
          <a:p>
            <a:r>
              <a:rPr lang="en-US" dirty="0"/>
              <a:t>Azure HDInsight cluster type</a:t>
            </a:r>
          </a:p>
        </p:txBody>
      </p:sp>
      <p:sp>
        <p:nvSpPr>
          <p:cNvPr id="3" name="Content Placeholder 2">
            <a:extLst>
              <a:ext uri="{FF2B5EF4-FFF2-40B4-BE49-F238E27FC236}">
                <a16:creationId xmlns:a16="http://schemas.microsoft.com/office/drawing/2014/main" id="{D4618DC7-BA32-4A20-9ADE-4297FCADDE7F}"/>
              </a:ext>
            </a:extLst>
          </p:cNvPr>
          <p:cNvSpPr>
            <a:spLocks noGrp="1"/>
          </p:cNvSpPr>
          <p:nvPr>
            <p:ph sz="quarter" idx="10"/>
          </p:nvPr>
        </p:nvSpPr>
        <p:spPr/>
        <p:txBody>
          <a:bodyPr/>
          <a:lstStyle/>
          <a:p>
            <a:r>
              <a:rPr lang="en-US" kern="1200" dirty="0"/>
              <a:t>Hadoop (Hive)</a:t>
            </a:r>
          </a:p>
          <a:p>
            <a:r>
              <a:rPr lang="en-US" kern="1200" dirty="0"/>
              <a:t>HBase</a:t>
            </a:r>
          </a:p>
          <a:p>
            <a:r>
              <a:rPr lang="en-US" kern="1200" dirty="0"/>
              <a:t>Storm </a:t>
            </a:r>
          </a:p>
          <a:p>
            <a:r>
              <a:rPr lang="en-US" kern="1200" dirty="0"/>
              <a:t>Spark</a:t>
            </a:r>
          </a:p>
          <a:p>
            <a:r>
              <a:rPr lang="en-US" kern="1200" dirty="0"/>
              <a:t>Kafka </a:t>
            </a:r>
          </a:p>
          <a:p>
            <a:r>
              <a:rPr lang="en-US" kern="1200" dirty="0"/>
              <a:t>Interactive Hive (LLAP)</a:t>
            </a:r>
          </a:p>
          <a:p>
            <a:r>
              <a:rPr lang="en-US" kern="1200" dirty="0"/>
              <a:t>R Server (with R Studio, R 9.1)</a:t>
            </a:r>
            <a:endParaRPr lang="en-US" dirty="0"/>
          </a:p>
        </p:txBody>
      </p:sp>
    </p:spTree>
    <p:extLst>
      <p:ext uri="{BB962C8B-B14F-4D97-AF65-F5344CB8AC3E}">
        <p14:creationId xmlns:p14="http://schemas.microsoft.com/office/powerpoint/2010/main" val="8940352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bwMode="auto">
          <a:xfrm>
            <a:off x="8384436" y="3244755"/>
            <a:ext cx="1344637" cy="1408560"/>
          </a:xfrm>
          <a:prstGeom prst="ellipse">
            <a:avLst/>
          </a:prstGeom>
          <a:solidFill>
            <a:schemeClr val="bg1"/>
          </a:solidFill>
          <a:ln w="571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93" rIns="0"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765" b="1" kern="0" dirty="0">
                <a:solidFill>
                  <a:srgbClr val="505050"/>
                </a:solidFill>
                <a:ea typeface="Segoe UI" pitchFamily="34" charset="0"/>
                <a:cs typeface="Segoe UI" pitchFamily="34" charset="0"/>
              </a:rPr>
              <a:t>Customize</a:t>
            </a:r>
            <a:br>
              <a:rPr lang="en-IN" sz="1765" b="1" kern="0" dirty="0">
                <a:solidFill>
                  <a:srgbClr val="505050"/>
                </a:solidFill>
                <a:ea typeface="Segoe UI" pitchFamily="34" charset="0"/>
                <a:cs typeface="Segoe UI" pitchFamily="34" charset="0"/>
              </a:rPr>
            </a:br>
            <a:r>
              <a:rPr lang="en-IN" sz="1765" b="1" kern="0" dirty="0">
                <a:solidFill>
                  <a:srgbClr val="505050"/>
                </a:solidFill>
                <a:ea typeface="Segoe UI" pitchFamily="34" charset="0"/>
                <a:cs typeface="Segoe UI" pitchFamily="34" charset="0"/>
              </a:rPr>
              <a:t>cluster?</a:t>
            </a:r>
          </a:p>
        </p:txBody>
      </p:sp>
      <p:sp>
        <p:nvSpPr>
          <p:cNvPr id="28" name="Rectangle 27"/>
          <p:cNvSpPr/>
          <p:nvPr/>
        </p:nvSpPr>
        <p:spPr>
          <a:xfrm>
            <a:off x="4388747" y="1268866"/>
            <a:ext cx="7384611" cy="685737"/>
          </a:xfrm>
          <a:prstGeom prst="rect">
            <a:avLst/>
          </a:prstGeom>
          <a:solidFill>
            <a:schemeClr val="bg1"/>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HDInsight cluster provisioning states</a:t>
            </a:r>
          </a:p>
        </p:txBody>
      </p:sp>
      <p:grpSp>
        <p:nvGrpSpPr>
          <p:cNvPr id="76" name="Group 75"/>
          <p:cNvGrpSpPr/>
          <p:nvPr/>
        </p:nvGrpSpPr>
        <p:grpSpPr>
          <a:xfrm>
            <a:off x="455993" y="4878203"/>
            <a:ext cx="3783350" cy="1464179"/>
            <a:chOff x="465136" y="4975524"/>
            <a:chExt cx="3859214" cy="1493539"/>
          </a:xfrm>
        </p:grpSpPr>
        <p:grpSp>
          <p:nvGrpSpPr>
            <p:cNvPr id="72" name="Group 71"/>
            <p:cNvGrpSpPr/>
            <p:nvPr/>
          </p:nvGrpSpPr>
          <p:grpSpPr>
            <a:xfrm>
              <a:off x="465136" y="4975524"/>
              <a:ext cx="3859214" cy="1493539"/>
              <a:chOff x="465136" y="4975524"/>
              <a:chExt cx="3859214" cy="1493539"/>
            </a:xfrm>
          </p:grpSpPr>
          <p:sp>
            <p:nvSpPr>
              <p:cNvPr id="67" name="Rectangle 66"/>
              <p:cNvSpPr/>
              <p:nvPr/>
            </p:nvSpPr>
            <p:spPr bwMode="auto">
              <a:xfrm>
                <a:off x="465136" y="5437189"/>
                <a:ext cx="3859214" cy="1031874"/>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RDP to cluster, update </a:t>
                </a:r>
                <a:r>
                  <a:rPr lang="en-US" sz="1961" kern="0" dirty="0" err="1">
                    <a:solidFill>
                      <a:schemeClr val="tx2"/>
                    </a:solidFill>
                    <a:ea typeface="ＭＳ Ｐゴシック" charset="0"/>
                  </a:rPr>
                  <a:t>config</a:t>
                </a:r>
                <a:r>
                  <a:rPr lang="en-US" sz="1961" kern="0" dirty="0">
                    <a:solidFill>
                      <a:schemeClr val="tx2"/>
                    </a:solidFill>
                    <a:ea typeface="ＭＳ Ｐゴシック" charset="0"/>
                  </a:rPr>
                  <a:t> files (non-durable) </a:t>
                </a:r>
              </a:p>
            </p:txBody>
          </p:sp>
          <p:sp>
            <p:nvSpPr>
              <p:cNvPr id="68" name="Rectangle 67"/>
              <p:cNvSpPr/>
              <p:nvPr/>
            </p:nvSpPr>
            <p:spPr bwMode="auto">
              <a:xfrm>
                <a:off x="465136" y="4975524"/>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Ad hoc</a:t>
                </a:r>
              </a:p>
            </p:txBody>
          </p:sp>
        </p:grpSp>
        <p:sp>
          <p:nvSpPr>
            <p:cNvPr id="69" name="Freeform 68"/>
            <p:cNvSpPr>
              <a:spLocks/>
            </p:cNvSpPr>
            <p:nvPr/>
          </p:nvSpPr>
          <p:spPr bwMode="auto">
            <a:xfrm>
              <a:off x="572440" y="553020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2" name="Title 1"/>
          <p:cNvSpPr>
            <a:spLocks noGrp="1"/>
          </p:cNvSpPr>
          <p:nvPr>
            <p:ph type="title"/>
          </p:nvPr>
        </p:nvSpPr>
        <p:spPr/>
        <p:txBody>
          <a:bodyPr/>
          <a:lstStyle/>
          <a:p>
            <a:r>
              <a:rPr lang="en-US" dirty="0"/>
              <a:t>Cluster customization options</a:t>
            </a:r>
          </a:p>
        </p:txBody>
      </p:sp>
      <p:grpSp>
        <p:nvGrpSpPr>
          <p:cNvPr id="73" name="Group 72"/>
          <p:cNvGrpSpPr/>
          <p:nvPr/>
        </p:nvGrpSpPr>
        <p:grpSpPr>
          <a:xfrm>
            <a:off x="455993" y="1268867"/>
            <a:ext cx="3783350" cy="1682352"/>
            <a:chOff x="465136" y="1293813"/>
            <a:chExt cx="3859214" cy="1716087"/>
          </a:xfrm>
        </p:grpSpPr>
        <p:grpSp>
          <p:nvGrpSpPr>
            <p:cNvPr id="70" name="Group 69"/>
            <p:cNvGrpSpPr/>
            <p:nvPr/>
          </p:nvGrpSpPr>
          <p:grpSpPr>
            <a:xfrm>
              <a:off x="465136" y="1293813"/>
              <a:ext cx="3859214" cy="1716087"/>
              <a:chOff x="465136" y="1293813"/>
              <a:chExt cx="3859214" cy="1716087"/>
            </a:xfrm>
          </p:grpSpPr>
          <p:sp>
            <p:nvSpPr>
              <p:cNvPr id="34" name="Rectangle 33"/>
              <p:cNvSpPr/>
              <p:nvPr/>
            </p:nvSpPr>
            <p:spPr bwMode="auto">
              <a:xfrm>
                <a:off x="465136" y="1755478"/>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Hive/</a:t>
                </a:r>
                <a:r>
                  <a:rPr lang="en-US" sz="1961" kern="0" dirty="0" err="1">
                    <a:solidFill>
                      <a:schemeClr val="tx2"/>
                    </a:solidFill>
                    <a:ea typeface="ＭＳ Ｐゴシック" charset="0"/>
                  </a:rPr>
                  <a:t>Oozie</a:t>
                </a:r>
                <a:r>
                  <a:rPr lang="en-US" sz="1961" kern="0" dirty="0">
                    <a:solidFill>
                      <a:schemeClr val="tx2"/>
                    </a:solidFill>
                    <a:ea typeface="ＭＳ Ｐゴシック" charset="0"/>
                  </a:rPr>
                  <a:t> </a:t>
                </a:r>
                <a:r>
                  <a:rPr lang="en-US" sz="1961" kern="0" dirty="0" err="1">
                    <a:solidFill>
                      <a:schemeClr val="tx2"/>
                    </a:solidFill>
                    <a:ea typeface="ＭＳ Ｐゴシック" charset="0"/>
                  </a:rPr>
                  <a:t>Metastore</a:t>
                </a:r>
                <a:endParaRPr lang="en-US" sz="1961" kern="0" dirty="0">
                  <a:solidFill>
                    <a:schemeClr val="tx2"/>
                  </a:solidFill>
                  <a:ea typeface="ＭＳ Ｐゴシック" charset="0"/>
                </a:endParaRPr>
              </a:p>
              <a:p>
                <a:pPr marL="547792" lvl="2" defTabSz="913505" fontAlgn="base">
                  <a:spcBef>
                    <a:spcPts val="588"/>
                  </a:spcBef>
                  <a:spcAft>
                    <a:spcPct val="0"/>
                  </a:spcAft>
                  <a:buSzPct val="90000"/>
                </a:pPr>
                <a:r>
                  <a:rPr lang="en-US" sz="1961" kern="0" dirty="0">
                    <a:solidFill>
                      <a:schemeClr val="tx2"/>
                    </a:solidFill>
                    <a:ea typeface="ＭＳ Ｐゴシック" charset="0"/>
                  </a:rPr>
                  <a:t>Storage accounts</a:t>
                </a:r>
              </a:p>
              <a:p>
                <a:pPr marL="547792" lvl="2" defTabSz="913505" fontAlgn="base">
                  <a:spcBef>
                    <a:spcPts val="588"/>
                  </a:spcBef>
                  <a:spcAft>
                    <a:spcPct val="0"/>
                  </a:spcAft>
                  <a:buSzPct val="90000"/>
                </a:pPr>
                <a:r>
                  <a:rPr lang="en-US" sz="1961" kern="0" dirty="0" err="1">
                    <a:solidFill>
                      <a:schemeClr val="tx2"/>
                    </a:solidFill>
                    <a:ea typeface="ＭＳ Ｐゴシック" charset="0"/>
                  </a:rPr>
                  <a:t>ScriptAction</a:t>
                </a:r>
                <a:endParaRPr lang="en-US" sz="1961" kern="0" dirty="0">
                  <a:solidFill>
                    <a:schemeClr val="tx2"/>
                  </a:solidFill>
                  <a:ea typeface="ＭＳ Ｐゴシック" charset="0"/>
                </a:endParaRPr>
              </a:p>
            </p:txBody>
          </p:sp>
          <p:sp>
            <p:nvSpPr>
              <p:cNvPr id="35" name="Rectangle 34"/>
              <p:cNvSpPr/>
              <p:nvPr/>
            </p:nvSpPr>
            <p:spPr bwMode="auto">
              <a:xfrm>
                <a:off x="465136" y="1293813"/>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Azure portal</a:t>
                </a:r>
              </a:p>
            </p:txBody>
          </p:sp>
        </p:grpSp>
        <p:sp>
          <p:nvSpPr>
            <p:cNvPr id="6" name="Freeform 5"/>
            <p:cNvSpPr>
              <a:spLocks/>
            </p:cNvSpPr>
            <p:nvPr/>
          </p:nvSpPr>
          <p:spPr bwMode="auto">
            <a:xfrm>
              <a:off x="562679" y="18465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7" name="Freeform 6"/>
            <p:cNvSpPr>
              <a:spLocks/>
            </p:cNvSpPr>
            <p:nvPr/>
          </p:nvSpPr>
          <p:spPr bwMode="auto">
            <a:xfrm>
              <a:off x="572441" y="221514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8" name="Freeform 7"/>
            <p:cNvSpPr>
              <a:spLocks/>
            </p:cNvSpPr>
            <p:nvPr/>
          </p:nvSpPr>
          <p:spPr bwMode="auto">
            <a:xfrm>
              <a:off x="548386" y="25837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14" name="Rectangle 13"/>
          <p:cNvSpPr/>
          <p:nvPr/>
        </p:nvSpPr>
        <p:spPr bwMode="auto">
          <a:xfrm>
            <a:off x="4632759"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Ready for deployment</a:t>
            </a:r>
          </a:p>
        </p:txBody>
      </p:sp>
      <p:sp>
        <p:nvSpPr>
          <p:cNvPr id="18" name="Rectangle 17"/>
          <p:cNvSpPr/>
          <p:nvPr/>
        </p:nvSpPr>
        <p:spPr bwMode="auto">
          <a:xfrm>
            <a:off x="6508598"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Accepted</a:t>
            </a:r>
          </a:p>
        </p:txBody>
      </p:sp>
      <p:sp>
        <p:nvSpPr>
          <p:cNvPr id="19" name="Rectangle 18"/>
          <p:cNvSpPr/>
          <p:nvPr/>
        </p:nvSpPr>
        <p:spPr bwMode="auto">
          <a:xfrm>
            <a:off x="8384436"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storage provisioned</a:t>
            </a:r>
          </a:p>
        </p:txBody>
      </p:sp>
      <p:sp>
        <p:nvSpPr>
          <p:cNvPr id="20" name="Rectangle 19"/>
          <p:cNvSpPr/>
          <p:nvPr/>
        </p:nvSpPr>
        <p:spPr bwMode="auto">
          <a:xfrm>
            <a:off x="10260275"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err="1">
                <a:solidFill>
                  <a:schemeClr val="bg1"/>
                </a:solidFill>
                <a:ea typeface="Segoe UI" pitchFamily="34" charset="0"/>
                <a:cs typeface="Segoe UI" pitchFamily="34" charset="0"/>
              </a:rPr>
              <a:t>AzureVM</a:t>
            </a:r>
            <a:r>
              <a:rPr lang="en-IN" sz="1568" kern="0" dirty="0">
                <a:solidFill>
                  <a:schemeClr val="bg1"/>
                </a:solidFill>
                <a:ea typeface="Segoe UI" pitchFamily="34" charset="0"/>
                <a:cs typeface="Segoe UI" pitchFamily="34" charset="0"/>
              </a:rPr>
              <a:t> configuration</a:t>
            </a:r>
          </a:p>
        </p:txBody>
      </p:sp>
      <p:sp>
        <p:nvSpPr>
          <p:cNvPr id="21" name="Rectangle 20"/>
          <p:cNvSpPr/>
          <p:nvPr/>
        </p:nvSpPr>
        <p:spPr bwMode="auto">
          <a:xfrm>
            <a:off x="4632759" y="3551046"/>
            <a:ext cx="1344637" cy="304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Running</a:t>
            </a:r>
          </a:p>
        </p:txBody>
      </p:sp>
      <p:sp>
        <p:nvSpPr>
          <p:cNvPr id="22" name="Rectangle 21"/>
          <p:cNvSpPr/>
          <p:nvPr/>
        </p:nvSpPr>
        <p:spPr bwMode="auto">
          <a:xfrm>
            <a:off x="4632759" y="3891687"/>
            <a:ext cx="1344637" cy="3047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Timed Out</a:t>
            </a:r>
          </a:p>
        </p:txBody>
      </p:sp>
      <p:sp>
        <p:nvSpPr>
          <p:cNvPr id="23" name="Rectangle 22"/>
          <p:cNvSpPr/>
          <p:nvPr/>
        </p:nvSpPr>
        <p:spPr bwMode="auto">
          <a:xfrm>
            <a:off x="4632759" y="4232329"/>
            <a:ext cx="1344637" cy="30478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Error</a:t>
            </a:r>
          </a:p>
        </p:txBody>
      </p:sp>
      <p:sp>
        <p:nvSpPr>
          <p:cNvPr id="24" name="Rectangle 23"/>
          <p:cNvSpPr/>
          <p:nvPr/>
        </p:nvSpPr>
        <p:spPr bwMode="auto">
          <a:xfrm>
            <a:off x="6508598" y="3551046"/>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operational</a:t>
            </a:r>
          </a:p>
        </p:txBody>
      </p:sp>
      <p:sp>
        <p:nvSpPr>
          <p:cNvPr id="26" name="Rectangle 25"/>
          <p:cNvSpPr/>
          <p:nvPr/>
        </p:nvSpPr>
        <p:spPr bwMode="auto">
          <a:xfrm>
            <a:off x="10260275" y="3551412"/>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onfiguring </a:t>
            </a:r>
            <a:r>
              <a:rPr lang="en-IN" sz="1568" kern="0" dirty="0" err="1">
                <a:solidFill>
                  <a:schemeClr val="bg1"/>
                </a:solidFill>
                <a:ea typeface="Segoe UI" pitchFamily="34" charset="0"/>
                <a:cs typeface="Segoe UI" pitchFamily="34" charset="0"/>
              </a:rPr>
              <a:t>HDInsight</a:t>
            </a:r>
            <a:endParaRPr lang="en-IN" sz="1568" kern="0" dirty="0">
              <a:solidFill>
                <a:schemeClr val="bg1"/>
              </a:solidFill>
              <a:ea typeface="Segoe UI" pitchFamily="34" charset="0"/>
              <a:cs typeface="Segoe UI" pitchFamily="34" charset="0"/>
            </a:endParaRPr>
          </a:p>
        </p:txBody>
      </p:sp>
      <p:sp>
        <p:nvSpPr>
          <p:cNvPr id="27" name="Rectangle 26"/>
          <p:cNvSpPr/>
          <p:nvPr/>
        </p:nvSpPr>
        <p:spPr bwMode="auto">
          <a:xfrm>
            <a:off x="8125846" y="4959606"/>
            <a:ext cx="1875839"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customization (custom script running)</a:t>
            </a:r>
          </a:p>
        </p:txBody>
      </p:sp>
      <p:cxnSp>
        <p:nvCxnSpPr>
          <p:cNvPr id="33" name="Straight Arrow Connector 32"/>
          <p:cNvCxnSpPr>
            <a:stCxn id="14" idx="3"/>
            <a:endCxn id="18" idx="1"/>
          </p:cNvCxnSpPr>
          <p:nvPr/>
        </p:nvCxnSpPr>
        <p:spPr>
          <a:xfrm>
            <a:off x="5977397"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9" idx="1"/>
          </p:cNvCxnSpPr>
          <p:nvPr/>
        </p:nvCxnSpPr>
        <p:spPr>
          <a:xfrm>
            <a:off x="7853235"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9" idx="3"/>
            <a:endCxn id="20" idx="1"/>
          </p:cNvCxnSpPr>
          <p:nvPr/>
        </p:nvCxnSpPr>
        <p:spPr>
          <a:xfrm>
            <a:off x="9729074"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0" idx="2"/>
            <a:endCxn id="26" idx="0"/>
          </p:cNvCxnSpPr>
          <p:nvPr/>
        </p:nvCxnSpPr>
        <p:spPr>
          <a:xfrm>
            <a:off x="10932593" y="3128552"/>
            <a:ext cx="0" cy="422859"/>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6" idx="1"/>
          </p:cNvCxnSpPr>
          <p:nvPr/>
        </p:nvCxnSpPr>
        <p:spPr>
          <a:xfrm flipH="1" flipV="1">
            <a:off x="9729074"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flipV="1">
            <a:off x="7853235"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5977397" y="4044445"/>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25" idx="4"/>
            <a:endCxn id="27" idx="0"/>
          </p:cNvCxnSpPr>
          <p:nvPr/>
        </p:nvCxnSpPr>
        <p:spPr>
          <a:xfrm>
            <a:off x="9056755" y="4653316"/>
            <a:ext cx="7010" cy="306291"/>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7" idx="1"/>
            <a:endCxn id="24" idx="2"/>
          </p:cNvCxnSpPr>
          <p:nvPr/>
        </p:nvCxnSpPr>
        <p:spPr>
          <a:xfrm rot="10800000">
            <a:off x="7180918" y="4537114"/>
            <a:ext cx="944929" cy="915527"/>
          </a:xfrm>
          <a:prstGeom prst="bentConnector2">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455993" y="3073535"/>
            <a:ext cx="3783350" cy="1682352"/>
            <a:chOff x="465136" y="3134668"/>
            <a:chExt cx="3859214" cy="1716087"/>
          </a:xfrm>
        </p:grpSpPr>
        <p:sp>
          <p:nvSpPr>
            <p:cNvPr id="9" name="Freeform 8"/>
            <p:cNvSpPr>
              <a:spLocks/>
            </p:cNvSpPr>
            <p:nvPr/>
          </p:nvSpPr>
          <p:spPr bwMode="auto">
            <a:xfrm>
              <a:off x="595916" y="369326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10" name="Freeform 9"/>
            <p:cNvSpPr>
              <a:spLocks/>
            </p:cNvSpPr>
            <p:nvPr/>
          </p:nvSpPr>
          <p:spPr bwMode="auto">
            <a:xfrm>
              <a:off x="572440" y="40577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nvGrpSpPr>
            <p:cNvPr id="71" name="Group 70"/>
            <p:cNvGrpSpPr/>
            <p:nvPr/>
          </p:nvGrpSpPr>
          <p:grpSpPr>
            <a:xfrm>
              <a:off x="465136" y="3134668"/>
              <a:ext cx="3859214" cy="1716087"/>
              <a:chOff x="465136" y="3152690"/>
              <a:chExt cx="3859214" cy="1716087"/>
            </a:xfrm>
          </p:grpSpPr>
          <p:sp>
            <p:nvSpPr>
              <p:cNvPr id="65" name="Rectangle 64"/>
              <p:cNvSpPr/>
              <p:nvPr/>
            </p:nvSpPr>
            <p:spPr bwMode="auto">
              <a:xfrm>
                <a:off x="465136" y="3614355"/>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err="1">
                    <a:solidFill>
                      <a:schemeClr val="tx2"/>
                    </a:solidFill>
                    <a:ea typeface="ＭＳ Ｐゴシック" charset="0"/>
                  </a:rPr>
                  <a:t>Config</a:t>
                </a:r>
                <a:r>
                  <a:rPr lang="en-US" sz="1961" kern="0" dirty="0">
                    <a:solidFill>
                      <a:schemeClr val="tx2"/>
                    </a:solidFill>
                    <a:ea typeface="ＭＳ Ｐゴシック" charset="0"/>
                  </a:rPr>
                  <a:t> values</a:t>
                </a:r>
              </a:p>
              <a:p>
                <a:pPr marL="547792" lvl="2" defTabSz="913505" fontAlgn="base">
                  <a:spcBef>
                    <a:spcPts val="588"/>
                  </a:spcBef>
                  <a:spcAft>
                    <a:spcPct val="0"/>
                  </a:spcAft>
                  <a:buSzPct val="90000"/>
                </a:pPr>
                <a:r>
                  <a:rPr lang="en-US" sz="1961" kern="0" dirty="0">
                    <a:solidFill>
                      <a:schemeClr val="tx2"/>
                    </a:solidFill>
                    <a:ea typeface="ＭＳ Ｐゴシック" charset="0"/>
                  </a:rPr>
                  <a:t>JAR file placement in cluster </a:t>
                </a:r>
              </a:p>
            </p:txBody>
          </p:sp>
          <p:sp>
            <p:nvSpPr>
              <p:cNvPr id="66" name="Rectangle 65"/>
              <p:cNvSpPr/>
              <p:nvPr/>
            </p:nvSpPr>
            <p:spPr bwMode="auto">
              <a:xfrm>
                <a:off x="465136" y="3152690"/>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scripting / SDK</a:t>
                </a:r>
              </a:p>
            </p:txBody>
          </p:sp>
        </p:grpSp>
      </p:grpSp>
      <p:sp>
        <p:nvSpPr>
          <p:cNvPr id="78" name="TextBox 77"/>
          <p:cNvSpPr txBox="1"/>
          <p:nvPr/>
        </p:nvSpPr>
        <p:spPr>
          <a:xfrm>
            <a:off x="8000973" y="3796644"/>
            <a:ext cx="235723" cy="190087"/>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No</a:t>
            </a:r>
          </a:p>
        </p:txBody>
      </p:sp>
      <p:sp>
        <p:nvSpPr>
          <p:cNvPr id="79" name="TextBox 78"/>
          <p:cNvSpPr txBox="1"/>
          <p:nvPr/>
        </p:nvSpPr>
        <p:spPr>
          <a:xfrm>
            <a:off x="9227275" y="4703116"/>
            <a:ext cx="356992" cy="190052"/>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Yes</a:t>
            </a:r>
          </a:p>
        </p:txBody>
      </p:sp>
    </p:spTree>
    <p:extLst>
      <p:ext uri="{BB962C8B-B14F-4D97-AF65-F5344CB8AC3E}">
        <p14:creationId xmlns:p14="http://schemas.microsoft.com/office/powerpoint/2010/main" val="2280124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fade">
                                      <p:cBhvr>
                                        <p:cTn id="17" dur="500"/>
                                        <p:tgtEl>
                                          <p:spTgt spid="76"/>
                                        </p:tgtEl>
                                      </p:cBhvr>
                                    </p:animEffect>
                                  </p:childTnLst>
                                </p:cTn>
                              </p:par>
                            </p:childTnLst>
                          </p:cTn>
                        </p:par>
                        <p:par>
                          <p:cTn id="18" fill="hold">
                            <p:stCondLst>
                              <p:cond delay="500"/>
                            </p:stCondLst>
                            <p:childTnLst>
                              <p:par>
                                <p:cTn id="19" presetID="22" presetClass="entr" presetSubtype="8"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500"/>
                                        <p:tgtEl>
                                          <p:spTgt spid="14"/>
                                        </p:tgtEl>
                                      </p:cBhvr>
                                    </p:animEffect>
                                  </p:childTnLst>
                                </p:cTn>
                              </p:par>
                            </p:childTnLst>
                          </p:cTn>
                        </p:par>
                        <p:par>
                          <p:cTn id="22" fill="hold">
                            <p:stCondLst>
                              <p:cond delay="1000"/>
                            </p:stCondLst>
                            <p:childTnLst>
                              <p:par>
                                <p:cTn id="23" presetID="22" presetClass="entr" presetSubtype="8"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wipe(left)">
                                      <p:cBhvr>
                                        <p:cTn id="25" dur="500"/>
                                        <p:tgtEl>
                                          <p:spTgt spid="33"/>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par>
                          <p:cTn id="30" fill="hold">
                            <p:stCondLst>
                              <p:cond delay="2000"/>
                            </p:stCondLst>
                            <p:childTnLst>
                              <p:par>
                                <p:cTn id="31" presetID="22" presetClass="entr" presetSubtype="8" fill="hold"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childTnLst>
                          </p:cTn>
                        </p:par>
                        <p:par>
                          <p:cTn id="34" fill="hold">
                            <p:stCondLst>
                              <p:cond delay="2500"/>
                            </p:stCondLst>
                            <p:childTnLst>
                              <p:par>
                                <p:cTn id="35" presetID="22" presetClass="entr" presetSubtype="8"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left)">
                                      <p:cBhvr>
                                        <p:cTn id="37" dur="500"/>
                                        <p:tgtEl>
                                          <p:spTgt spid="19"/>
                                        </p:tgtEl>
                                      </p:cBhvr>
                                    </p:animEffect>
                                  </p:childTnLst>
                                </p:cTn>
                              </p:par>
                            </p:childTnLst>
                          </p:cTn>
                        </p:par>
                        <p:par>
                          <p:cTn id="38" fill="hold">
                            <p:stCondLst>
                              <p:cond delay="3000"/>
                            </p:stCondLst>
                            <p:childTnLst>
                              <p:par>
                                <p:cTn id="39" presetID="22" presetClass="entr" presetSubtype="8"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left)">
                                      <p:cBhvr>
                                        <p:cTn id="41" dur="500"/>
                                        <p:tgtEl>
                                          <p:spTgt spid="40"/>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wipe(left)">
                                      <p:cBhvr>
                                        <p:cTn id="45" dur="500"/>
                                        <p:tgtEl>
                                          <p:spTgt spid="20"/>
                                        </p:tgtEl>
                                      </p:cBhvr>
                                    </p:animEffect>
                                  </p:childTnLst>
                                </p:cTn>
                              </p:par>
                            </p:childTnLst>
                          </p:cTn>
                        </p:par>
                        <p:par>
                          <p:cTn id="46" fill="hold">
                            <p:stCondLst>
                              <p:cond delay="4000"/>
                            </p:stCondLst>
                            <p:childTnLst>
                              <p:par>
                                <p:cTn id="47" presetID="22" presetClass="entr" presetSubtype="1" fill="hold" nodeType="after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wipe(up)">
                                      <p:cBhvr>
                                        <p:cTn id="49" dur="500"/>
                                        <p:tgtEl>
                                          <p:spTgt spid="43"/>
                                        </p:tgtEl>
                                      </p:cBhvr>
                                    </p:animEffect>
                                  </p:childTnLst>
                                </p:cTn>
                              </p:par>
                            </p:childTnLst>
                          </p:cTn>
                        </p:par>
                        <p:par>
                          <p:cTn id="50" fill="hold">
                            <p:stCondLst>
                              <p:cond delay="4500"/>
                            </p:stCondLst>
                            <p:childTnLst>
                              <p:par>
                                <p:cTn id="51" presetID="22" presetClass="entr" presetSubtype="2"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wipe(right)">
                                      <p:cBhvr>
                                        <p:cTn id="53" dur="500"/>
                                        <p:tgtEl>
                                          <p:spTgt spid="26"/>
                                        </p:tgtEl>
                                      </p:cBhvr>
                                    </p:animEffect>
                                  </p:childTnLst>
                                </p:cTn>
                              </p:par>
                            </p:childTnLst>
                          </p:cTn>
                        </p:par>
                        <p:par>
                          <p:cTn id="54" fill="hold">
                            <p:stCondLst>
                              <p:cond delay="5000"/>
                            </p:stCondLst>
                            <p:childTnLst>
                              <p:par>
                                <p:cTn id="55" presetID="22" presetClass="entr" presetSubtype="2" fill="hold" nodeType="after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wipe(right)">
                                      <p:cBhvr>
                                        <p:cTn id="57" dur="500"/>
                                        <p:tgtEl>
                                          <p:spTgt spid="47"/>
                                        </p:tgtEl>
                                      </p:cBhvr>
                                    </p:animEffect>
                                  </p:childTnLst>
                                </p:cTn>
                              </p:par>
                            </p:childTnLst>
                          </p:cTn>
                        </p:par>
                        <p:par>
                          <p:cTn id="58" fill="hold">
                            <p:stCondLst>
                              <p:cond delay="5500"/>
                            </p:stCondLst>
                            <p:childTnLst>
                              <p:par>
                                <p:cTn id="59" presetID="22" presetClass="entr" presetSubtype="2" fill="hold" grpId="0" nodeType="after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right)">
                                      <p:cBhvr>
                                        <p:cTn id="61" dur="500"/>
                                        <p:tgtEl>
                                          <p:spTgt spid="25"/>
                                        </p:tgtEl>
                                      </p:cBhvr>
                                    </p:animEffect>
                                  </p:childTnLst>
                                </p:cTn>
                              </p:par>
                            </p:childTnLst>
                          </p:cTn>
                        </p:par>
                        <p:par>
                          <p:cTn id="62" fill="hold">
                            <p:stCondLst>
                              <p:cond delay="6000"/>
                            </p:stCondLst>
                            <p:childTnLst>
                              <p:par>
                                <p:cTn id="63" presetID="22" presetClass="entr" presetSubtype="1" fill="hold" nodeType="after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up)">
                                      <p:cBhvr>
                                        <p:cTn id="65" dur="500"/>
                                        <p:tgtEl>
                                          <p:spTgt spid="58"/>
                                        </p:tgtEl>
                                      </p:cBhvr>
                                    </p:animEffect>
                                  </p:childTnLst>
                                </p:cTn>
                              </p:par>
                            </p:childTnLst>
                          </p:cTn>
                        </p:par>
                        <p:par>
                          <p:cTn id="66" fill="hold">
                            <p:stCondLst>
                              <p:cond delay="6500"/>
                            </p:stCondLst>
                            <p:childTnLst>
                              <p:par>
                                <p:cTn id="67" presetID="22" presetClass="entr" presetSubtype="2" fill="hold" nodeType="after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right)">
                                      <p:cBhvr>
                                        <p:cTn id="69" dur="500"/>
                                        <p:tgtEl>
                                          <p:spTgt spid="51"/>
                                        </p:tgtEl>
                                      </p:cBhvr>
                                    </p:animEffect>
                                  </p:childTnLst>
                                </p:cTn>
                              </p:par>
                            </p:childTnLst>
                          </p:cTn>
                        </p:par>
                        <p:par>
                          <p:cTn id="70" fill="hold">
                            <p:stCondLst>
                              <p:cond delay="7000"/>
                            </p:stCondLst>
                            <p:childTnLst>
                              <p:par>
                                <p:cTn id="71" presetID="22" presetClass="entr" presetSubtype="1" fill="hold" grpId="0"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wipe(up)">
                                      <p:cBhvr>
                                        <p:cTn id="73" dur="500"/>
                                        <p:tgtEl>
                                          <p:spTgt spid="27"/>
                                        </p:tgtEl>
                                      </p:cBhvr>
                                    </p:animEffect>
                                  </p:childTnLst>
                                </p:cTn>
                              </p:par>
                            </p:childTnLst>
                          </p:cTn>
                        </p:par>
                        <p:par>
                          <p:cTn id="74" fill="hold">
                            <p:stCondLst>
                              <p:cond delay="7500"/>
                            </p:stCondLst>
                            <p:childTnLst>
                              <p:par>
                                <p:cTn id="75" presetID="10" presetClass="entr" presetSubtype="0" fill="hold" grpId="0" nodeType="afterEffect">
                                  <p:stCondLst>
                                    <p:cond delay="0"/>
                                  </p:stCondLst>
                                  <p:childTnLst>
                                    <p:set>
                                      <p:cBhvr>
                                        <p:cTn id="76" dur="1" fill="hold">
                                          <p:stCondLst>
                                            <p:cond delay="0"/>
                                          </p:stCondLst>
                                        </p:cTn>
                                        <p:tgtEl>
                                          <p:spTgt spid="79"/>
                                        </p:tgtEl>
                                        <p:attrNameLst>
                                          <p:attrName>style.visibility</p:attrName>
                                        </p:attrNameLst>
                                      </p:cBhvr>
                                      <p:to>
                                        <p:strVal val="visible"/>
                                      </p:to>
                                    </p:set>
                                    <p:animEffect transition="in" filter="fade">
                                      <p:cBhvr>
                                        <p:cTn id="77" dur="500"/>
                                        <p:tgtEl>
                                          <p:spTgt spid="79"/>
                                        </p:tgtEl>
                                      </p:cBhvr>
                                    </p:animEffect>
                                  </p:childTnLst>
                                </p:cTn>
                              </p:par>
                              <p:par>
                                <p:cTn id="78" presetID="22" presetClass="entr" presetSubtype="2" fill="hold" nodeType="with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wipe(right)">
                                      <p:cBhvr>
                                        <p:cTn id="80" dur="500"/>
                                        <p:tgtEl>
                                          <p:spTgt spid="61"/>
                                        </p:tgtEl>
                                      </p:cBhvr>
                                    </p:animEffect>
                                  </p:childTnLst>
                                </p:cTn>
                              </p:par>
                            </p:childTnLst>
                          </p:cTn>
                        </p:par>
                        <p:par>
                          <p:cTn id="81" fill="hold">
                            <p:stCondLst>
                              <p:cond delay="8000"/>
                            </p:stCondLst>
                            <p:childTnLst>
                              <p:par>
                                <p:cTn id="82" presetID="22" presetClass="entr" presetSubtype="2" fill="hold" grpId="0" nodeType="after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right)">
                                      <p:cBhvr>
                                        <p:cTn id="84" dur="500"/>
                                        <p:tgtEl>
                                          <p:spTgt spid="24"/>
                                        </p:tgtEl>
                                      </p:cBhvr>
                                    </p:animEffect>
                                  </p:childTnLst>
                                </p:cTn>
                              </p:par>
                            </p:childTnLst>
                          </p:cTn>
                        </p:par>
                        <p:par>
                          <p:cTn id="85" fill="hold">
                            <p:stCondLst>
                              <p:cond delay="8500"/>
                            </p:stCondLst>
                            <p:childTnLst>
                              <p:par>
                                <p:cTn id="86" presetID="10" presetClass="entr" presetSubtype="0" fill="hold" grpId="0" nodeType="after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childTnLst>
                          </p:cTn>
                        </p:par>
                        <p:par>
                          <p:cTn id="89" fill="hold">
                            <p:stCondLst>
                              <p:cond delay="9000"/>
                            </p:stCondLst>
                            <p:childTnLst>
                              <p:par>
                                <p:cTn id="90" presetID="22" presetClass="entr" presetSubtype="2" fill="hold" nodeType="after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wipe(right)">
                                      <p:cBhvr>
                                        <p:cTn id="92" dur="500"/>
                                        <p:tgtEl>
                                          <p:spTgt spid="54"/>
                                        </p:tgtEl>
                                      </p:cBhvr>
                                    </p:animEffect>
                                  </p:childTnLst>
                                </p:cTn>
                              </p:par>
                            </p:childTnLst>
                          </p:cTn>
                        </p:par>
                        <p:par>
                          <p:cTn id="93" fill="hold">
                            <p:stCondLst>
                              <p:cond delay="9500"/>
                            </p:stCondLst>
                            <p:childTnLst>
                              <p:par>
                                <p:cTn id="94" presetID="22" presetClass="entr" presetSubtype="2" fill="hold" grpId="0"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right)">
                                      <p:cBhvr>
                                        <p:cTn id="96" dur="500"/>
                                        <p:tgtEl>
                                          <p:spTgt spid="21"/>
                                        </p:tgtEl>
                                      </p:cBhvr>
                                    </p:animEffect>
                                  </p:childTnLst>
                                </p:cTn>
                              </p:par>
                            </p:childTnLst>
                          </p:cTn>
                        </p:par>
                        <p:par>
                          <p:cTn id="97" fill="hold">
                            <p:stCondLst>
                              <p:cond delay="10000"/>
                            </p:stCondLst>
                            <p:childTnLst>
                              <p:par>
                                <p:cTn id="98" presetID="22" presetClass="entr" presetSubtype="2" fill="hold" grpId="0" nodeType="after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wipe(right)">
                                      <p:cBhvr>
                                        <p:cTn id="100" dur="500"/>
                                        <p:tgtEl>
                                          <p:spTgt spid="22"/>
                                        </p:tgtEl>
                                      </p:cBhvr>
                                    </p:animEffect>
                                  </p:childTnLst>
                                </p:cTn>
                              </p:par>
                            </p:childTnLst>
                          </p:cTn>
                        </p:par>
                        <p:par>
                          <p:cTn id="101" fill="hold">
                            <p:stCondLst>
                              <p:cond delay="10500"/>
                            </p:stCondLst>
                            <p:childTnLst>
                              <p:par>
                                <p:cTn id="102" presetID="22" presetClass="entr" presetSubtype="2" fill="hold" grpId="0" nodeType="afterEffect">
                                  <p:stCondLst>
                                    <p:cond delay="0"/>
                                  </p:stCondLst>
                                  <p:childTnLst>
                                    <p:set>
                                      <p:cBhvr>
                                        <p:cTn id="103" dur="1" fill="hold">
                                          <p:stCondLst>
                                            <p:cond delay="0"/>
                                          </p:stCondLst>
                                        </p:cTn>
                                        <p:tgtEl>
                                          <p:spTgt spid="23"/>
                                        </p:tgtEl>
                                        <p:attrNameLst>
                                          <p:attrName>style.visibility</p:attrName>
                                        </p:attrNameLst>
                                      </p:cBhvr>
                                      <p:to>
                                        <p:strVal val="visible"/>
                                      </p:to>
                                    </p:set>
                                    <p:animEffect transition="in" filter="wipe(right)">
                                      <p:cBhvr>
                                        <p:cTn id="10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4" grpId="0" animBg="1"/>
      <p:bldP spid="18" grpId="0" animBg="1"/>
      <p:bldP spid="19" grpId="0" animBg="1"/>
      <p:bldP spid="20" grpId="0" animBg="1"/>
      <p:bldP spid="21" grpId="0" animBg="1"/>
      <p:bldP spid="22" grpId="0" animBg="1"/>
      <p:bldP spid="23" grpId="0" animBg="1"/>
      <p:bldP spid="24" grpId="0" animBg="1"/>
      <p:bldP spid="26" grpId="0" animBg="1"/>
      <p:bldP spid="27" grpId="0" animBg="1"/>
      <p:bldP spid="78" grpId="0"/>
      <p:bldP spid="7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rot="5400000">
            <a:off x="5996835" y="2805994"/>
            <a:ext cx="520747" cy="6559773"/>
          </a:xfrm>
          <a:prstGeom prst="rect">
            <a:avLst/>
          </a:prstGeom>
          <a:solidFill>
            <a:schemeClr val="tx2"/>
          </a:solidFill>
          <a:ln w="1079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386"/>
            <a:r>
              <a:rPr lang="en-US" sz="1961" kern="0" dirty="0">
                <a:solidFill>
                  <a:schemeClr val="bg1"/>
                </a:solidFill>
                <a:latin typeface="Segoe UI Semibold" panose="020B0702040204020203" pitchFamily="34" charset="0"/>
                <a:cs typeface="Segoe UI Semibold" panose="020B0702040204020203" pitchFamily="34" charset="0"/>
              </a:rPr>
              <a:t>Azure Storage</a:t>
            </a:r>
          </a:p>
        </p:txBody>
      </p:sp>
      <p:sp>
        <p:nvSpPr>
          <p:cNvPr id="2" name="Title 1"/>
          <p:cNvSpPr>
            <a:spLocks noGrp="1"/>
          </p:cNvSpPr>
          <p:nvPr>
            <p:ph type="title"/>
          </p:nvPr>
        </p:nvSpPr>
        <p:spPr/>
        <p:txBody>
          <a:bodyPr/>
          <a:lstStyle/>
          <a:p>
            <a:r>
              <a:rPr lang="en-US"/>
              <a:t>HDInsight cluster architecture</a:t>
            </a:r>
            <a:endParaRPr lang="en-US" dirty="0"/>
          </a:p>
        </p:txBody>
      </p:sp>
      <p:sp>
        <p:nvSpPr>
          <p:cNvPr id="4" name="Content Placeholder 3"/>
          <p:cNvSpPr>
            <a:spLocks noGrp="1"/>
          </p:cNvSpPr>
          <p:nvPr>
            <p:ph sz="quarter" idx="10"/>
          </p:nvPr>
        </p:nvSpPr>
        <p:spPr/>
        <p:txBody>
          <a:bodyPr/>
          <a:lstStyle/>
          <a:p>
            <a:endParaRPr lang="en-US" dirty="0"/>
          </a:p>
        </p:txBody>
      </p:sp>
      <p:sp>
        <p:nvSpPr>
          <p:cNvPr id="3" name="Rectangle 2"/>
          <p:cNvSpPr/>
          <p:nvPr/>
        </p:nvSpPr>
        <p:spPr>
          <a:xfrm>
            <a:off x="1959627" y="2227776"/>
            <a:ext cx="8595161" cy="3597726"/>
          </a:xfrm>
          <a:prstGeom prst="rect">
            <a:avLst/>
          </a:prstGeom>
          <a:ln/>
        </p:spPr>
        <p:style>
          <a:lnRef idx="2">
            <a:schemeClr val="accent2"/>
          </a:lnRef>
          <a:fillRef idx="1">
            <a:schemeClr val="lt1"/>
          </a:fillRef>
          <a:effectRef idx="0">
            <a:schemeClr val="accent2"/>
          </a:effectRef>
          <a:fontRef idx="minor">
            <a:schemeClr val="dk1"/>
          </a:fontRef>
        </p:style>
        <p:txBody>
          <a:bodyPr vert="vert270" rtlCol="0" anchor="t"/>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Azure </a:t>
            </a:r>
            <a:r>
              <a:rPr lang="en-US" sz="2353" kern="0" dirty="0" err="1">
                <a:solidFill>
                  <a:schemeClr val="tx2"/>
                </a:solidFill>
                <a:latin typeface="Segoe UI Semibold" panose="020B0702040204020203" pitchFamily="34" charset="0"/>
                <a:cs typeface="Segoe UI Semibold" panose="020B0702040204020203" pitchFamily="34" charset="0"/>
              </a:rPr>
              <a:t>VNet</a:t>
            </a:r>
            <a:endParaRPr lang="en-US" sz="2353" kern="0" dirty="0">
              <a:solidFill>
                <a:schemeClr val="tx2"/>
              </a:solidFill>
              <a:latin typeface="Segoe UI Semibold" panose="020B0702040204020203" pitchFamily="34" charset="0"/>
              <a:cs typeface="Segoe UI Semibold" panose="020B0702040204020203" pitchFamily="34" charset="0"/>
            </a:endParaRPr>
          </a:p>
        </p:txBody>
      </p:sp>
      <p:sp>
        <p:nvSpPr>
          <p:cNvPr id="10" name="TextBox 9"/>
          <p:cNvSpPr txBox="1"/>
          <p:nvPr/>
        </p:nvSpPr>
        <p:spPr>
          <a:xfrm>
            <a:off x="3085711" y="2324685"/>
            <a:ext cx="1792849" cy="905179"/>
          </a:xfrm>
          <a:prstGeom prst="rect">
            <a:avLst/>
          </a:prstGeom>
          <a:noFill/>
        </p:spPr>
        <p:txBody>
          <a:bodyPr wrap="squar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Secure gateway</a:t>
            </a:r>
          </a:p>
          <a:p>
            <a:pPr algn="r" defTabSz="896386"/>
            <a:r>
              <a:rPr lang="en-US" sz="1765" kern="0" dirty="0" err="1">
                <a:solidFill>
                  <a:schemeClr val="tx2"/>
                </a:solidFill>
                <a:latin typeface="Segoe UI Semibold" panose="020B0702040204020203" pitchFamily="34" charset="0"/>
                <a:cs typeface="Segoe UI Semibold" panose="020B0702040204020203" pitchFamily="34" charset="0"/>
              </a:rPr>
              <a:t>AuthN</a:t>
            </a:r>
            <a:endParaRPr lang="en-US" sz="1765" kern="0" dirty="0">
              <a:solidFill>
                <a:schemeClr val="tx2"/>
              </a:solidFill>
              <a:latin typeface="Segoe UI Semibold" panose="020B0702040204020203" pitchFamily="34" charset="0"/>
              <a:cs typeface="Segoe UI Semibold" panose="020B0702040204020203" pitchFamily="34" charset="0"/>
            </a:endParaRPr>
          </a:p>
          <a:p>
            <a:pPr algn="r" defTabSz="896386"/>
            <a:r>
              <a:rPr lang="en-US" sz="1765" kern="0" dirty="0">
                <a:solidFill>
                  <a:schemeClr val="tx2"/>
                </a:solidFill>
                <a:latin typeface="Segoe UI Semibold" panose="020B0702040204020203" pitchFamily="34" charset="0"/>
                <a:cs typeface="Segoe UI Semibold" panose="020B0702040204020203" pitchFamily="34" charset="0"/>
              </a:rPr>
              <a:t>HTTP Proxy</a:t>
            </a:r>
          </a:p>
        </p:txBody>
      </p:sp>
      <p:grpSp>
        <p:nvGrpSpPr>
          <p:cNvPr id="39" name="Group 38"/>
          <p:cNvGrpSpPr/>
          <p:nvPr/>
        </p:nvGrpSpPr>
        <p:grpSpPr>
          <a:xfrm rot="5400000">
            <a:off x="5910199" y="2949074"/>
            <a:ext cx="694016" cy="1662739"/>
            <a:chOff x="5835515" y="2993627"/>
            <a:chExt cx="1016991" cy="2436531"/>
          </a:xfrm>
        </p:grpSpPr>
        <p:sp>
          <p:nvSpPr>
            <p:cNvPr id="11" name="Rectangle 10"/>
            <p:cNvSpPr/>
            <p:nvPr/>
          </p:nvSpPr>
          <p:spPr>
            <a:xfrm>
              <a:off x="5835515" y="2993627"/>
              <a:ext cx="1016991" cy="2436531"/>
            </a:xfrm>
            <a:prstGeom prst="rect">
              <a:avLst/>
            </a:prstGeom>
            <a:noFill/>
            <a:ln w="28575">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896386"/>
              <a:endParaRPr lang="en-US" sz="1765" kern="0">
                <a:solidFill>
                  <a:schemeClr val="tx2"/>
                </a:solidFill>
              </a:endParaRPr>
            </a:p>
          </p:txBody>
        </p:sp>
        <p:sp>
          <p:nvSpPr>
            <p:cNvPr id="12" name="Rectangle 11"/>
            <p:cNvSpPr/>
            <p:nvPr/>
          </p:nvSpPr>
          <p:spPr>
            <a:xfrm>
              <a:off x="5963390" y="3384226"/>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3" name="Rectangle 12"/>
            <p:cNvSpPr/>
            <p:nvPr/>
          </p:nvSpPr>
          <p:spPr>
            <a:xfrm>
              <a:off x="5965897" y="4360222"/>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grpSp>
      <p:sp>
        <p:nvSpPr>
          <p:cNvPr id="14" name="TextBox 13"/>
          <p:cNvSpPr txBox="1"/>
          <p:nvPr/>
        </p:nvSpPr>
        <p:spPr>
          <a:xfrm>
            <a:off x="3063801" y="3463632"/>
            <a:ext cx="1814758" cy="633625"/>
          </a:xfrm>
          <a:prstGeom prst="rect">
            <a:avLst/>
          </a:prstGeom>
          <a:noFill/>
        </p:spPr>
        <p:txBody>
          <a:bodyPr wrap="non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Highly available</a:t>
            </a:r>
            <a:br>
              <a:rPr lang="en-US" sz="1765" kern="0" dirty="0">
                <a:solidFill>
                  <a:schemeClr val="tx2"/>
                </a:solidFill>
                <a:latin typeface="Segoe UI Semibold" panose="020B0702040204020203" pitchFamily="34" charset="0"/>
                <a:cs typeface="Segoe UI Semibold" panose="020B0702040204020203" pitchFamily="34" charset="0"/>
              </a:rPr>
            </a:br>
            <a:r>
              <a:rPr lang="en-US" sz="1765" kern="0" dirty="0">
                <a:solidFill>
                  <a:schemeClr val="tx2"/>
                </a:solidFill>
                <a:latin typeface="Segoe UI Semibold" panose="020B0702040204020203" pitchFamily="34" charset="0"/>
                <a:cs typeface="Segoe UI Semibold" panose="020B0702040204020203" pitchFamily="34" charset="0"/>
              </a:rPr>
              <a:t>Head nodes</a:t>
            </a:r>
          </a:p>
        </p:txBody>
      </p:sp>
      <p:sp>
        <p:nvSpPr>
          <p:cNvPr id="15" name="Rectangle 14"/>
          <p:cNvSpPr/>
          <p:nvPr/>
        </p:nvSpPr>
        <p:spPr>
          <a:xfrm>
            <a:off x="5078281" y="436033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6" name="Rectangle 15"/>
          <p:cNvSpPr/>
          <p:nvPr/>
        </p:nvSpPr>
        <p:spPr>
          <a:xfrm>
            <a:off x="5181738" y="440723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7" name="Rectangle 16"/>
          <p:cNvSpPr/>
          <p:nvPr/>
        </p:nvSpPr>
        <p:spPr>
          <a:xfrm>
            <a:off x="5285193" y="445413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8" name="Rectangle 17"/>
          <p:cNvSpPr/>
          <p:nvPr/>
        </p:nvSpPr>
        <p:spPr>
          <a:xfrm>
            <a:off x="5388650" y="450103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9" name="Rectangle 18"/>
          <p:cNvSpPr/>
          <p:nvPr/>
        </p:nvSpPr>
        <p:spPr>
          <a:xfrm>
            <a:off x="5492106" y="454793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0" name="Rectangle 19"/>
          <p:cNvSpPr/>
          <p:nvPr/>
        </p:nvSpPr>
        <p:spPr>
          <a:xfrm>
            <a:off x="5595563" y="4594829"/>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1" name="Rectangle 20"/>
          <p:cNvSpPr/>
          <p:nvPr/>
        </p:nvSpPr>
        <p:spPr>
          <a:xfrm>
            <a:off x="5699018" y="464172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2" name="Rectangle 21"/>
          <p:cNvSpPr/>
          <p:nvPr/>
        </p:nvSpPr>
        <p:spPr>
          <a:xfrm>
            <a:off x="5802475" y="468862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3" name="Rectangle 22"/>
          <p:cNvSpPr/>
          <p:nvPr/>
        </p:nvSpPr>
        <p:spPr>
          <a:xfrm>
            <a:off x="5905931" y="473552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r>
              <a:rPr lang="en-US" sz="1765" kern="0" dirty="0">
                <a:solidFill>
                  <a:schemeClr val="tx2"/>
                </a:solidFill>
              </a:rPr>
              <a:t> x</a:t>
            </a:r>
          </a:p>
        </p:txBody>
      </p:sp>
      <p:sp>
        <p:nvSpPr>
          <p:cNvPr id="24" name="Rectangle 23"/>
          <p:cNvSpPr/>
          <p:nvPr/>
        </p:nvSpPr>
        <p:spPr>
          <a:xfrm>
            <a:off x="6009387" y="478242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5" name="Rectangle 24"/>
          <p:cNvSpPr/>
          <p:nvPr/>
        </p:nvSpPr>
        <p:spPr>
          <a:xfrm>
            <a:off x="6112843" y="482932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6" name="Rectangle 25"/>
          <p:cNvSpPr/>
          <p:nvPr/>
        </p:nvSpPr>
        <p:spPr>
          <a:xfrm>
            <a:off x="6216300" y="4876220"/>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7" name="Rectangle 26"/>
          <p:cNvSpPr/>
          <p:nvPr/>
        </p:nvSpPr>
        <p:spPr>
          <a:xfrm>
            <a:off x="6319756" y="492311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8" name="Rectangle 27"/>
          <p:cNvSpPr/>
          <p:nvPr/>
        </p:nvSpPr>
        <p:spPr>
          <a:xfrm>
            <a:off x="6423212" y="497001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9" name="Rectangle 28"/>
          <p:cNvSpPr/>
          <p:nvPr/>
        </p:nvSpPr>
        <p:spPr>
          <a:xfrm>
            <a:off x="6526668" y="501691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0" name="Rectangle 29"/>
          <p:cNvSpPr/>
          <p:nvPr/>
        </p:nvSpPr>
        <p:spPr>
          <a:xfrm>
            <a:off x="6630125" y="506381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1" name="Rectangle 30"/>
          <p:cNvSpPr/>
          <p:nvPr/>
        </p:nvSpPr>
        <p:spPr>
          <a:xfrm>
            <a:off x="6733580" y="511071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2" name="Rectangle 31"/>
          <p:cNvSpPr/>
          <p:nvPr/>
        </p:nvSpPr>
        <p:spPr>
          <a:xfrm>
            <a:off x="6837031" y="5157614"/>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3" name="TextBox 32"/>
          <p:cNvSpPr txBox="1"/>
          <p:nvPr/>
        </p:nvSpPr>
        <p:spPr>
          <a:xfrm>
            <a:off x="3261432" y="4770573"/>
            <a:ext cx="1617127" cy="362072"/>
          </a:xfrm>
          <a:prstGeom prst="rect">
            <a:avLst/>
          </a:prstGeom>
          <a:noFill/>
        </p:spPr>
        <p:txBody>
          <a:bodyPr wrap="non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Worker nodes</a:t>
            </a:r>
          </a:p>
        </p:txBody>
      </p:sp>
      <p:grpSp>
        <p:nvGrpSpPr>
          <p:cNvPr id="89" name="Group 88"/>
          <p:cNvGrpSpPr/>
          <p:nvPr/>
        </p:nvGrpSpPr>
        <p:grpSpPr>
          <a:xfrm>
            <a:off x="2977322" y="1187940"/>
            <a:ext cx="6559772" cy="854404"/>
            <a:chOff x="6858743" y="2325513"/>
            <a:chExt cx="6691309" cy="871537"/>
          </a:xfrm>
        </p:grpSpPr>
        <p:sp>
          <p:nvSpPr>
            <p:cNvPr id="5" name="Rectangle 4"/>
            <p:cNvSpPr/>
            <p:nvPr/>
          </p:nvSpPr>
          <p:spPr bwMode="auto">
            <a:xfrm>
              <a:off x="6858743" y="2325513"/>
              <a:ext cx="6691309" cy="8715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r>
                <a:rPr lang="en-IN" sz="1961" kern="0" dirty="0">
                  <a:solidFill>
                    <a:schemeClr val="tx2"/>
                  </a:solidFill>
                  <a:latin typeface="Segoe UI Semibold" panose="020B0702040204020203" pitchFamily="34" charset="0"/>
                  <a:ea typeface="Segoe UI" pitchFamily="34" charset="0"/>
                  <a:cs typeface="Segoe UI Semibold" panose="020B0702040204020203" pitchFamily="34" charset="0"/>
                </a:rPr>
                <a:t>HTTP traffic</a:t>
              </a:r>
            </a:p>
          </p:txBody>
        </p:sp>
        <p:grpSp>
          <p:nvGrpSpPr>
            <p:cNvPr id="88" name="Group 87"/>
            <p:cNvGrpSpPr/>
            <p:nvPr/>
          </p:nvGrpSpPr>
          <p:grpSpPr>
            <a:xfrm>
              <a:off x="7682536" y="2493134"/>
              <a:ext cx="5670857" cy="536294"/>
              <a:chOff x="7651739" y="2525033"/>
              <a:chExt cx="5670857" cy="536294"/>
            </a:xfrm>
          </p:grpSpPr>
          <p:sp>
            <p:nvSpPr>
              <p:cNvPr id="35" name="Rectangle 34"/>
              <p:cNvSpPr/>
              <p:nvPr/>
            </p:nvSpPr>
            <p:spPr bwMode="auto">
              <a:xfrm>
                <a:off x="7651739"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a:solidFill>
                      <a:schemeClr val="tx2"/>
                    </a:solidFill>
                    <a:latin typeface="+mj-lt"/>
                    <a:ea typeface="Segoe UI" pitchFamily="34" charset="0"/>
                    <a:cs typeface="Segoe UI" pitchFamily="34" charset="0"/>
                  </a:rPr>
                  <a:t>ODBC/JDBC</a:t>
                </a:r>
              </a:p>
            </p:txBody>
          </p:sp>
          <p:sp>
            <p:nvSpPr>
              <p:cNvPr id="85" name="Rectangle 84"/>
              <p:cNvSpPr/>
              <p:nvPr/>
            </p:nvSpPr>
            <p:spPr bwMode="auto">
              <a:xfrm>
                <a:off x="9080305"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WebHCatalog</a:t>
                </a:r>
                <a:endParaRPr lang="en-IN" sz="1568" b="1" kern="0" dirty="0">
                  <a:solidFill>
                    <a:schemeClr val="tx2"/>
                  </a:solidFill>
                  <a:latin typeface="+mj-lt"/>
                  <a:ea typeface="Segoe UI" pitchFamily="34" charset="0"/>
                  <a:cs typeface="Segoe UI" pitchFamily="34" charset="0"/>
                </a:endParaRPr>
              </a:p>
            </p:txBody>
          </p:sp>
          <p:sp>
            <p:nvSpPr>
              <p:cNvPr id="86" name="Rectangle 85"/>
              <p:cNvSpPr/>
              <p:nvPr/>
            </p:nvSpPr>
            <p:spPr bwMode="auto">
              <a:xfrm>
                <a:off x="10508871"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Oozie</a:t>
                </a:r>
                <a:endParaRPr lang="en-IN" sz="1568" b="1" kern="0" dirty="0">
                  <a:solidFill>
                    <a:schemeClr val="tx2"/>
                  </a:solidFill>
                  <a:latin typeface="+mj-lt"/>
                  <a:ea typeface="Segoe UI" pitchFamily="34" charset="0"/>
                  <a:cs typeface="Segoe UI" pitchFamily="34" charset="0"/>
                </a:endParaRPr>
              </a:p>
            </p:txBody>
          </p:sp>
          <p:sp>
            <p:nvSpPr>
              <p:cNvPr id="87" name="Rectangle 86"/>
              <p:cNvSpPr/>
              <p:nvPr/>
            </p:nvSpPr>
            <p:spPr bwMode="auto">
              <a:xfrm>
                <a:off x="11937436"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Ambari</a:t>
                </a:r>
                <a:endParaRPr lang="en-IN" sz="1568" b="1" kern="0" dirty="0">
                  <a:solidFill>
                    <a:schemeClr val="tx2"/>
                  </a:solidFill>
                  <a:latin typeface="+mj-lt"/>
                  <a:ea typeface="Segoe UI" pitchFamily="34" charset="0"/>
                  <a:cs typeface="Segoe UI" pitchFamily="34" charset="0"/>
                </a:endParaRPr>
              </a:p>
            </p:txBody>
          </p:sp>
        </p:grpSp>
      </p:grpSp>
      <p:cxnSp>
        <p:nvCxnSpPr>
          <p:cNvPr id="92" name="Straight Connector 91"/>
          <p:cNvCxnSpPr/>
          <p:nvPr/>
        </p:nvCxnSpPr>
        <p:spPr>
          <a:xfrm flipH="1">
            <a:off x="3207090" y="3262682"/>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207090" y="4298206"/>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H="1">
            <a:off x="6257209" y="2042343"/>
            <a:ext cx="1" cy="431086"/>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9" idx="3"/>
            <a:endCxn id="11" idx="1"/>
          </p:cNvCxnSpPr>
          <p:nvPr/>
        </p:nvCxnSpPr>
        <p:spPr>
          <a:xfrm>
            <a:off x="6257207" y="3064829"/>
            <a:ext cx="0" cy="36860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rot="5400000">
            <a:off x="5969655" y="2081011"/>
            <a:ext cx="575107" cy="1392528"/>
            <a:chOff x="4094531" y="2325003"/>
            <a:chExt cx="586639" cy="1420451"/>
          </a:xfrm>
        </p:grpSpPr>
        <p:sp>
          <p:nvSpPr>
            <p:cNvPr id="9" name="Rectangle 8"/>
            <p:cNvSpPr/>
            <p:nvPr/>
          </p:nvSpPr>
          <p:spPr>
            <a:xfrm>
              <a:off x="4094531" y="2325003"/>
              <a:ext cx="586639" cy="1420451"/>
            </a:xfrm>
            <a:prstGeom prst="rect">
              <a:avLst/>
            </a:prstGeom>
            <a:noFill/>
            <a:ln w="28575">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endParaRPr lang="en-US" sz="1765" kern="0">
                <a:solidFill>
                  <a:schemeClr val="tx2"/>
                </a:solidFill>
              </a:endParaRPr>
            </a:p>
          </p:txBody>
        </p:sp>
        <p:sp>
          <p:nvSpPr>
            <p:cNvPr id="7" name="Rectangle 6"/>
            <p:cNvSpPr/>
            <p:nvPr/>
          </p:nvSpPr>
          <p:spPr>
            <a:xfrm>
              <a:off x="4169741" y="2557138"/>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8" name="Rectangle 7"/>
            <p:cNvSpPr/>
            <p:nvPr/>
          </p:nvSpPr>
          <p:spPr>
            <a:xfrm>
              <a:off x="4169741" y="3091129"/>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grpSp>
      <p:cxnSp>
        <p:nvCxnSpPr>
          <p:cNvPr id="103" name="Straight Arrow Connector 102"/>
          <p:cNvCxnSpPr>
            <a:stCxn id="11" idx="3"/>
          </p:cNvCxnSpPr>
          <p:nvPr/>
        </p:nvCxnSpPr>
        <p:spPr>
          <a:xfrm>
            <a:off x="6257207" y="4127452"/>
            <a:ext cx="0" cy="46215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257207" y="5448568"/>
            <a:ext cx="0" cy="360642"/>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07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5"/>
                                        </p:tgtEl>
                                        <p:attrNameLst>
                                          <p:attrName>style.visibility</p:attrName>
                                        </p:attrNameLst>
                                      </p:cBhvr>
                                      <p:to>
                                        <p:strVal val="visible"/>
                                      </p:to>
                                    </p:set>
                                    <p:animEffect transition="in" filter="wipe(up)">
                                      <p:cBhvr>
                                        <p:cTn id="11" dur="500"/>
                                        <p:tgtEl>
                                          <p:spTgt spid="95"/>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1250"/>
                            </p:stCondLst>
                            <p:childTnLst>
                              <p:par>
                                <p:cTn id="16" presetID="22" presetClass="entr" presetSubtype="8"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par>
                          <p:cTn id="26" fill="hold">
                            <p:stCondLst>
                              <p:cond delay="2250"/>
                            </p:stCondLst>
                            <p:childTnLst>
                              <p:par>
                                <p:cTn id="27" presetID="22" presetClass="entr" presetSubtype="1" fill="hold" nodeType="after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wipe(up)">
                                      <p:cBhvr>
                                        <p:cTn id="29" dur="500"/>
                                        <p:tgtEl>
                                          <p:spTgt spid="99"/>
                                        </p:tgtEl>
                                      </p:cBhvr>
                                    </p:animEffect>
                                  </p:childTnLst>
                                </p:cTn>
                              </p:par>
                            </p:childTnLst>
                          </p:cTn>
                        </p:par>
                        <p:par>
                          <p:cTn id="30" fill="hold">
                            <p:stCondLst>
                              <p:cond delay="2750"/>
                            </p:stCondLst>
                            <p:childTnLst>
                              <p:par>
                                <p:cTn id="31" presetID="22" presetClass="entr" presetSubtype="8"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3250"/>
                            </p:stCondLst>
                            <p:childTnLst>
                              <p:par>
                                <p:cTn id="35" presetID="10" presetClass="entr" presetSubtype="0"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10" presetClass="entr" presetSubtype="0" fill="hold" nodeType="with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750"/>
                            </p:stCondLst>
                            <p:childTnLst>
                              <p:par>
                                <p:cTn id="42" presetID="22" presetClass="entr" presetSubtype="1" fill="hold" nodeType="afterEffect">
                                  <p:stCondLst>
                                    <p:cond delay="0"/>
                                  </p:stCondLst>
                                  <p:childTnLst>
                                    <p:set>
                                      <p:cBhvr>
                                        <p:cTn id="43" dur="1" fill="hold">
                                          <p:stCondLst>
                                            <p:cond delay="0"/>
                                          </p:stCondLst>
                                        </p:cTn>
                                        <p:tgtEl>
                                          <p:spTgt spid="103"/>
                                        </p:tgtEl>
                                        <p:attrNameLst>
                                          <p:attrName>style.visibility</p:attrName>
                                        </p:attrNameLst>
                                      </p:cBhvr>
                                      <p:to>
                                        <p:strVal val="visible"/>
                                      </p:to>
                                    </p:set>
                                    <p:animEffect transition="in" filter="wipe(up)">
                                      <p:cBhvr>
                                        <p:cTn id="44" dur="500"/>
                                        <p:tgtEl>
                                          <p:spTgt spid="103"/>
                                        </p:tgtEl>
                                      </p:cBhvr>
                                    </p:animEffect>
                                  </p:childTnLst>
                                </p:cTn>
                              </p:par>
                            </p:childTnLst>
                          </p:cTn>
                        </p:par>
                        <p:par>
                          <p:cTn id="45" fill="hold">
                            <p:stCondLst>
                              <p:cond delay="4250"/>
                            </p:stCondLst>
                            <p:childTnLst>
                              <p:par>
                                <p:cTn id="46" presetID="22" presetClass="entr" presetSubtype="8" fill="hold" grpId="0" nodeType="after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wipe(left)">
                                      <p:cBhvr>
                                        <p:cTn id="48" dur="500"/>
                                        <p:tgtEl>
                                          <p:spTgt spid="33"/>
                                        </p:tgtEl>
                                      </p:cBhvr>
                                    </p:animEffect>
                                  </p:childTnLst>
                                </p:cTn>
                              </p:par>
                            </p:childTnLst>
                          </p:cTn>
                        </p:par>
                        <p:par>
                          <p:cTn id="49" fill="hold">
                            <p:stCondLst>
                              <p:cond delay="4750"/>
                            </p:stCondLst>
                            <p:childTnLst>
                              <p:par>
                                <p:cTn id="50" presetID="10" presetClass="entr" presetSubtype="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10"/>
                                        <p:tgtEl>
                                          <p:spTgt spid="15"/>
                                        </p:tgtEl>
                                      </p:cBhvr>
                                    </p:animEffect>
                                  </p:childTnLst>
                                </p:cTn>
                              </p:par>
                            </p:childTnLst>
                          </p:cTn>
                        </p:par>
                        <p:par>
                          <p:cTn id="53" fill="hold">
                            <p:stCondLst>
                              <p:cond delay="4760"/>
                            </p:stCondLst>
                            <p:childTnLst>
                              <p:par>
                                <p:cTn id="54" presetID="10" presetClass="entr" presetSubtype="0" fill="hold" grpId="0" nodeType="afterEffect">
                                  <p:stCondLst>
                                    <p:cond delay="5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
                                        <p:tgtEl>
                                          <p:spTgt spid="16"/>
                                        </p:tgtEl>
                                      </p:cBhvr>
                                    </p:animEffect>
                                  </p:childTnLst>
                                </p:cTn>
                              </p:par>
                            </p:childTnLst>
                          </p:cTn>
                        </p:par>
                        <p:par>
                          <p:cTn id="57" fill="hold">
                            <p:stCondLst>
                              <p:cond delay="4820"/>
                            </p:stCondLst>
                            <p:childTnLst>
                              <p:par>
                                <p:cTn id="58" presetID="10" presetClass="entr" presetSubtype="0" fill="hold" grpId="0" nodeType="afterEffect">
                                  <p:stCondLst>
                                    <p:cond delay="5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10"/>
                                        <p:tgtEl>
                                          <p:spTgt spid="17"/>
                                        </p:tgtEl>
                                      </p:cBhvr>
                                    </p:animEffect>
                                  </p:childTnLst>
                                </p:cTn>
                              </p:par>
                            </p:childTnLst>
                          </p:cTn>
                        </p:par>
                        <p:par>
                          <p:cTn id="61" fill="hold">
                            <p:stCondLst>
                              <p:cond delay="4880"/>
                            </p:stCondLst>
                            <p:childTnLst>
                              <p:par>
                                <p:cTn id="62" presetID="10" presetClass="entr" presetSubtype="0" fill="hold" grpId="0" nodeType="afterEffect">
                                  <p:stCondLst>
                                    <p:cond delay="5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
                                        <p:tgtEl>
                                          <p:spTgt spid="18"/>
                                        </p:tgtEl>
                                      </p:cBhvr>
                                    </p:animEffect>
                                  </p:childTnLst>
                                </p:cTn>
                              </p:par>
                            </p:childTnLst>
                          </p:cTn>
                        </p:par>
                        <p:par>
                          <p:cTn id="65" fill="hold">
                            <p:stCondLst>
                              <p:cond delay="4940"/>
                            </p:stCondLst>
                            <p:childTnLst>
                              <p:par>
                                <p:cTn id="66" presetID="10" presetClass="entr" presetSubtype="0" fill="hold" grpId="0" nodeType="afterEffect">
                                  <p:stCondLst>
                                    <p:cond delay="5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10"/>
                                        <p:tgtEl>
                                          <p:spTgt spid="19"/>
                                        </p:tgtEl>
                                      </p:cBhvr>
                                    </p:animEffect>
                                  </p:childTnLst>
                                </p:cTn>
                              </p:par>
                            </p:childTnLst>
                          </p:cTn>
                        </p:par>
                        <p:par>
                          <p:cTn id="69" fill="hold">
                            <p:stCondLst>
                              <p:cond delay="5000"/>
                            </p:stCondLst>
                            <p:childTnLst>
                              <p:par>
                                <p:cTn id="70" presetID="10" presetClass="entr" presetSubtype="0" fill="hold" grpId="0" nodeType="afterEffect">
                                  <p:stCondLst>
                                    <p:cond delay="5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
                                        <p:tgtEl>
                                          <p:spTgt spid="20"/>
                                        </p:tgtEl>
                                      </p:cBhvr>
                                    </p:animEffect>
                                  </p:childTnLst>
                                </p:cTn>
                              </p:par>
                            </p:childTnLst>
                          </p:cTn>
                        </p:par>
                        <p:par>
                          <p:cTn id="73" fill="hold">
                            <p:stCondLst>
                              <p:cond delay="5060"/>
                            </p:stCondLst>
                            <p:childTnLst>
                              <p:par>
                                <p:cTn id="74" presetID="10" presetClass="entr" presetSubtype="0" fill="hold" grpId="0" nodeType="afterEffect">
                                  <p:stCondLst>
                                    <p:cond delay="5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10"/>
                                        <p:tgtEl>
                                          <p:spTgt spid="21"/>
                                        </p:tgtEl>
                                      </p:cBhvr>
                                    </p:animEffect>
                                  </p:childTnLst>
                                </p:cTn>
                              </p:par>
                            </p:childTnLst>
                          </p:cTn>
                        </p:par>
                        <p:par>
                          <p:cTn id="77" fill="hold">
                            <p:stCondLst>
                              <p:cond delay="5120"/>
                            </p:stCondLst>
                            <p:childTnLst>
                              <p:par>
                                <p:cTn id="78" presetID="10" presetClass="entr" presetSubtype="0" fill="hold" grpId="0" nodeType="afterEffect">
                                  <p:stCondLst>
                                    <p:cond delay="5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
                                        <p:tgtEl>
                                          <p:spTgt spid="22"/>
                                        </p:tgtEl>
                                      </p:cBhvr>
                                    </p:animEffect>
                                  </p:childTnLst>
                                </p:cTn>
                              </p:par>
                            </p:childTnLst>
                          </p:cTn>
                        </p:par>
                        <p:par>
                          <p:cTn id="81" fill="hold">
                            <p:stCondLst>
                              <p:cond delay="5180"/>
                            </p:stCondLst>
                            <p:childTnLst>
                              <p:par>
                                <p:cTn id="82" presetID="10" presetClass="entr" presetSubtype="0" fill="hold" grpId="0" nodeType="afterEffect">
                                  <p:stCondLst>
                                    <p:cond delay="5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
                                        <p:tgtEl>
                                          <p:spTgt spid="23"/>
                                        </p:tgtEl>
                                      </p:cBhvr>
                                    </p:animEffect>
                                  </p:childTnLst>
                                </p:cTn>
                              </p:par>
                            </p:childTnLst>
                          </p:cTn>
                        </p:par>
                        <p:par>
                          <p:cTn id="85" fill="hold">
                            <p:stCondLst>
                              <p:cond delay="5240"/>
                            </p:stCondLst>
                            <p:childTnLst>
                              <p:par>
                                <p:cTn id="86" presetID="10" presetClass="entr" presetSubtype="0" fill="hold" grpId="0" nodeType="afterEffect">
                                  <p:stCondLst>
                                    <p:cond delay="50"/>
                                  </p:stCondLst>
                                  <p:childTnLst>
                                    <p:set>
                                      <p:cBhvr>
                                        <p:cTn id="87" dur="1" fill="hold">
                                          <p:stCondLst>
                                            <p:cond delay="0"/>
                                          </p:stCondLst>
                                        </p:cTn>
                                        <p:tgtEl>
                                          <p:spTgt spid="24"/>
                                        </p:tgtEl>
                                        <p:attrNameLst>
                                          <p:attrName>style.visibility</p:attrName>
                                        </p:attrNameLst>
                                      </p:cBhvr>
                                      <p:to>
                                        <p:strVal val="visible"/>
                                      </p:to>
                                    </p:set>
                                    <p:animEffect transition="in" filter="fade">
                                      <p:cBhvr>
                                        <p:cTn id="88" dur="10"/>
                                        <p:tgtEl>
                                          <p:spTgt spid="24"/>
                                        </p:tgtEl>
                                      </p:cBhvr>
                                    </p:animEffect>
                                  </p:childTnLst>
                                </p:cTn>
                              </p:par>
                            </p:childTnLst>
                          </p:cTn>
                        </p:par>
                        <p:par>
                          <p:cTn id="89" fill="hold">
                            <p:stCondLst>
                              <p:cond delay="5300"/>
                            </p:stCondLst>
                            <p:childTnLst>
                              <p:par>
                                <p:cTn id="90" presetID="10" presetClass="entr" presetSubtype="0" fill="hold" grpId="0" nodeType="afterEffect">
                                  <p:stCondLst>
                                    <p:cond delay="50"/>
                                  </p:stCondLst>
                                  <p:childTnLst>
                                    <p:set>
                                      <p:cBhvr>
                                        <p:cTn id="91" dur="1" fill="hold">
                                          <p:stCondLst>
                                            <p:cond delay="0"/>
                                          </p:stCondLst>
                                        </p:cTn>
                                        <p:tgtEl>
                                          <p:spTgt spid="25"/>
                                        </p:tgtEl>
                                        <p:attrNameLst>
                                          <p:attrName>style.visibility</p:attrName>
                                        </p:attrNameLst>
                                      </p:cBhvr>
                                      <p:to>
                                        <p:strVal val="visible"/>
                                      </p:to>
                                    </p:set>
                                    <p:animEffect transition="in" filter="fade">
                                      <p:cBhvr>
                                        <p:cTn id="92" dur="10"/>
                                        <p:tgtEl>
                                          <p:spTgt spid="25"/>
                                        </p:tgtEl>
                                      </p:cBhvr>
                                    </p:animEffect>
                                  </p:childTnLst>
                                </p:cTn>
                              </p:par>
                            </p:childTnLst>
                          </p:cTn>
                        </p:par>
                        <p:par>
                          <p:cTn id="93" fill="hold">
                            <p:stCondLst>
                              <p:cond delay="5360"/>
                            </p:stCondLst>
                            <p:childTnLst>
                              <p:par>
                                <p:cTn id="94" presetID="10" presetClass="entr" presetSubtype="0" fill="hold" grpId="0" nodeType="afterEffect">
                                  <p:stCondLst>
                                    <p:cond delay="5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10"/>
                                        <p:tgtEl>
                                          <p:spTgt spid="26"/>
                                        </p:tgtEl>
                                      </p:cBhvr>
                                    </p:animEffect>
                                  </p:childTnLst>
                                </p:cTn>
                              </p:par>
                            </p:childTnLst>
                          </p:cTn>
                        </p:par>
                        <p:par>
                          <p:cTn id="97" fill="hold">
                            <p:stCondLst>
                              <p:cond delay="5420"/>
                            </p:stCondLst>
                            <p:childTnLst>
                              <p:par>
                                <p:cTn id="98" presetID="10" presetClass="entr" presetSubtype="0" fill="hold" grpId="0" nodeType="afterEffect">
                                  <p:stCondLst>
                                    <p:cond delay="50"/>
                                  </p:stCondLst>
                                  <p:childTnLst>
                                    <p:set>
                                      <p:cBhvr>
                                        <p:cTn id="99" dur="1" fill="hold">
                                          <p:stCondLst>
                                            <p:cond delay="0"/>
                                          </p:stCondLst>
                                        </p:cTn>
                                        <p:tgtEl>
                                          <p:spTgt spid="27"/>
                                        </p:tgtEl>
                                        <p:attrNameLst>
                                          <p:attrName>style.visibility</p:attrName>
                                        </p:attrNameLst>
                                      </p:cBhvr>
                                      <p:to>
                                        <p:strVal val="visible"/>
                                      </p:to>
                                    </p:set>
                                    <p:animEffect transition="in" filter="fade">
                                      <p:cBhvr>
                                        <p:cTn id="100" dur="10"/>
                                        <p:tgtEl>
                                          <p:spTgt spid="27"/>
                                        </p:tgtEl>
                                      </p:cBhvr>
                                    </p:animEffect>
                                  </p:childTnLst>
                                </p:cTn>
                              </p:par>
                            </p:childTnLst>
                          </p:cTn>
                        </p:par>
                        <p:par>
                          <p:cTn id="101" fill="hold">
                            <p:stCondLst>
                              <p:cond delay="5480"/>
                            </p:stCondLst>
                            <p:childTnLst>
                              <p:par>
                                <p:cTn id="102" presetID="10" presetClass="entr" presetSubtype="0" fill="hold" grpId="0" nodeType="afterEffect">
                                  <p:stCondLst>
                                    <p:cond delay="5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10"/>
                                        <p:tgtEl>
                                          <p:spTgt spid="28"/>
                                        </p:tgtEl>
                                      </p:cBhvr>
                                    </p:animEffect>
                                  </p:childTnLst>
                                </p:cTn>
                              </p:par>
                            </p:childTnLst>
                          </p:cTn>
                        </p:par>
                        <p:par>
                          <p:cTn id="105" fill="hold">
                            <p:stCondLst>
                              <p:cond delay="5540"/>
                            </p:stCondLst>
                            <p:childTnLst>
                              <p:par>
                                <p:cTn id="106" presetID="10" presetClass="entr" presetSubtype="0" fill="hold" grpId="0" nodeType="afterEffect">
                                  <p:stCondLst>
                                    <p:cond delay="50"/>
                                  </p:stCondLst>
                                  <p:childTnLst>
                                    <p:set>
                                      <p:cBhvr>
                                        <p:cTn id="107" dur="1" fill="hold">
                                          <p:stCondLst>
                                            <p:cond delay="0"/>
                                          </p:stCondLst>
                                        </p:cTn>
                                        <p:tgtEl>
                                          <p:spTgt spid="29"/>
                                        </p:tgtEl>
                                        <p:attrNameLst>
                                          <p:attrName>style.visibility</p:attrName>
                                        </p:attrNameLst>
                                      </p:cBhvr>
                                      <p:to>
                                        <p:strVal val="visible"/>
                                      </p:to>
                                    </p:set>
                                    <p:animEffect transition="in" filter="fade">
                                      <p:cBhvr>
                                        <p:cTn id="108" dur="10"/>
                                        <p:tgtEl>
                                          <p:spTgt spid="29"/>
                                        </p:tgtEl>
                                      </p:cBhvr>
                                    </p:animEffect>
                                  </p:childTnLst>
                                </p:cTn>
                              </p:par>
                            </p:childTnLst>
                          </p:cTn>
                        </p:par>
                        <p:par>
                          <p:cTn id="109" fill="hold">
                            <p:stCondLst>
                              <p:cond delay="5600"/>
                            </p:stCondLst>
                            <p:childTnLst>
                              <p:par>
                                <p:cTn id="110" presetID="10" presetClass="entr" presetSubtype="0" fill="hold" grpId="0" nodeType="afterEffect">
                                  <p:stCondLst>
                                    <p:cond delay="50"/>
                                  </p:stCondLst>
                                  <p:childTnLst>
                                    <p:set>
                                      <p:cBhvr>
                                        <p:cTn id="111" dur="1" fill="hold">
                                          <p:stCondLst>
                                            <p:cond delay="0"/>
                                          </p:stCondLst>
                                        </p:cTn>
                                        <p:tgtEl>
                                          <p:spTgt spid="30"/>
                                        </p:tgtEl>
                                        <p:attrNameLst>
                                          <p:attrName>style.visibility</p:attrName>
                                        </p:attrNameLst>
                                      </p:cBhvr>
                                      <p:to>
                                        <p:strVal val="visible"/>
                                      </p:to>
                                    </p:set>
                                    <p:animEffect transition="in" filter="fade">
                                      <p:cBhvr>
                                        <p:cTn id="112" dur="10"/>
                                        <p:tgtEl>
                                          <p:spTgt spid="30"/>
                                        </p:tgtEl>
                                      </p:cBhvr>
                                    </p:animEffect>
                                  </p:childTnLst>
                                </p:cTn>
                              </p:par>
                            </p:childTnLst>
                          </p:cTn>
                        </p:par>
                        <p:par>
                          <p:cTn id="113" fill="hold">
                            <p:stCondLst>
                              <p:cond delay="5660"/>
                            </p:stCondLst>
                            <p:childTnLst>
                              <p:par>
                                <p:cTn id="114" presetID="10" presetClass="entr" presetSubtype="0" fill="hold" grpId="0" nodeType="afterEffect">
                                  <p:stCondLst>
                                    <p:cond delay="50"/>
                                  </p:stCondLst>
                                  <p:childTnLst>
                                    <p:set>
                                      <p:cBhvr>
                                        <p:cTn id="115" dur="1" fill="hold">
                                          <p:stCondLst>
                                            <p:cond delay="0"/>
                                          </p:stCondLst>
                                        </p:cTn>
                                        <p:tgtEl>
                                          <p:spTgt spid="31"/>
                                        </p:tgtEl>
                                        <p:attrNameLst>
                                          <p:attrName>style.visibility</p:attrName>
                                        </p:attrNameLst>
                                      </p:cBhvr>
                                      <p:to>
                                        <p:strVal val="visible"/>
                                      </p:to>
                                    </p:set>
                                    <p:animEffect transition="in" filter="fade">
                                      <p:cBhvr>
                                        <p:cTn id="116" dur="10"/>
                                        <p:tgtEl>
                                          <p:spTgt spid="31"/>
                                        </p:tgtEl>
                                      </p:cBhvr>
                                    </p:animEffect>
                                  </p:childTnLst>
                                </p:cTn>
                              </p:par>
                            </p:childTnLst>
                          </p:cTn>
                        </p:par>
                        <p:par>
                          <p:cTn id="117" fill="hold">
                            <p:stCondLst>
                              <p:cond delay="5720"/>
                            </p:stCondLst>
                            <p:childTnLst>
                              <p:par>
                                <p:cTn id="118" presetID="10" presetClass="entr" presetSubtype="0" fill="hold" grpId="0" nodeType="afterEffect">
                                  <p:stCondLst>
                                    <p:cond delay="50"/>
                                  </p:stCondLst>
                                  <p:childTnLst>
                                    <p:set>
                                      <p:cBhvr>
                                        <p:cTn id="119" dur="1" fill="hold">
                                          <p:stCondLst>
                                            <p:cond delay="0"/>
                                          </p:stCondLst>
                                        </p:cTn>
                                        <p:tgtEl>
                                          <p:spTgt spid="32"/>
                                        </p:tgtEl>
                                        <p:attrNameLst>
                                          <p:attrName>style.visibility</p:attrName>
                                        </p:attrNameLst>
                                      </p:cBhvr>
                                      <p:to>
                                        <p:strVal val="visible"/>
                                      </p:to>
                                    </p:set>
                                    <p:animEffect transition="in" filter="fade">
                                      <p:cBhvr>
                                        <p:cTn id="120" dur="10"/>
                                        <p:tgtEl>
                                          <p:spTgt spid="32"/>
                                        </p:tgtEl>
                                      </p:cBhvr>
                                    </p:animEffect>
                                  </p:childTnLst>
                                </p:cTn>
                              </p:par>
                            </p:childTnLst>
                          </p:cTn>
                        </p:par>
                        <p:par>
                          <p:cTn id="121" fill="hold">
                            <p:stCondLst>
                              <p:cond delay="5780"/>
                            </p:stCondLst>
                            <p:childTnLst>
                              <p:par>
                                <p:cTn id="122" presetID="22" presetClass="entr" presetSubtype="1" fill="hold" nodeType="after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wipe(up)">
                                      <p:cBhvr>
                                        <p:cTn id="124" dur="500"/>
                                        <p:tgtEl>
                                          <p:spTgt spid="106"/>
                                        </p:tgtEl>
                                      </p:cBhvr>
                                    </p:animEffect>
                                  </p:childTnLst>
                                </p:cTn>
                              </p:par>
                            </p:childTnLst>
                          </p:cTn>
                        </p:par>
                        <p:par>
                          <p:cTn id="125" fill="hold">
                            <p:stCondLst>
                              <p:cond delay="6280"/>
                            </p:stCondLst>
                            <p:childTnLst>
                              <p:par>
                                <p:cTn id="126" presetID="47" presetClass="entr" presetSubtype="0" fill="hold" grpId="0" nodeType="after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1000"/>
                                        <p:tgtEl>
                                          <p:spTgt spid="34"/>
                                        </p:tgtEl>
                                      </p:cBhvr>
                                    </p:animEffect>
                                    <p:anim calcmode="lin" valueType="num">
                                      <p:cBhvr>
                                        <p:cTn id="129" dur="1000" fill="hold"/>
                                        <p:tgtEl>
                                          <p:spTgt spid="34"/>
                                        </p:tgtEl>
                                        <p:attrNameLst>
                                          <p:attrName>ppt_x</p:attrName>
                                        </p:attrNameLst>
                                      </p:cBhvr>
                                      <p:tavLst>
                                        <p:tav tm="0">
                                          <p:val>
                                            <p:strVal val="#ppt_x"/>
                                          </p:val>
                                        </p:tav>
                                        <p:tav tm="100000">
                                          <p:val>
                                            <p:strVal val="#ppt_x"/>
                                          </p:val>
                                        </p:tav>
                                      </p:tavLst>
                                    </p:anim>
                                    <p:anim calcmode="lin" valueType="num">
                                      <p:cBhvr>
                                        <p:cTn id="13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 grpId="0" animBg="1"/>
      <p:bldP spid="10" grpId="0"/>
      <p:bldP spid="14"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5B8ED6-0254-4755-BA7C-A84DC4956DBB}"/>
              </a:ext>
            </a:extLst>
          </p:cNvPr>
          <p:cNvSpPr>
            <a:spLocks noChangeAspect="1"/>
          </p:cNvSpPr>
          <p:nvPr/>
        </p:nvSpPr>
        <p:spPr>
          <a:xfrm>
            <a:off x="3132617" y="5142224"/>
            <a:ext cx="1210731" cy="333279"/>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Blob Storage</a:t>
            </a:r>
          </a:p>
        </p:txBody>
      </p:sp>
      <p:sp>
        <p:nvSpPr>
          <p:cNvPr id="5" name="Title 1">
            <a:extLst>
              <a:ext uri="{FF2B5EF4-FFF2-40B4-BE49-F238E27FC236}">
                <a16:creationId xmlns:a16="http://schemas.microsoft.com/office/drawing/2014/main" id="{87F66549-1856-4BBD-8C93-61943520ED09}"/>
              </a:ext>
            </a:extLst>
          </p:cNvPr>
          <p:cNvSpPr>
            <a:spLocks noGrp="1"/>
          </p:cNvSpPr>
          <p:nvPr>
            <p:ph type="title"/>
          </p:nvPr>
        </p:nvSpPr>
        <p:spPr>
          <a:xfrm>
            <a:off x="274320" y="296898"/>
            <a:ext cx="10265343" cy="914365"/>
          </a:xfrm>
        </p:spPr>
        <p:txBody>
          <a:bodyPr/>
          <a:lstStyle/>
          <a:p>
            <a:r>
              <a:rPr lang="en-US" dirty="0"/>
              <a:t>Lambda Architecture on Azure</a:t>
            </a:r>
          </a:p>
        </p:txBody>
      </p:sp>
      <p:sp>
        <p:nvSpPr>
          <p:cNvPr id="6" name="Text Placeholder 2">
            <a:extLst>
              <a:ext uri="{FF2B5EF4-FFF2-40B4-BE49-F238E27FC236}">
                <a16:creationId xmlns:a16="http://schemas.microsoft.com/office/drawing/2014/main" id="{47B8AAD5-5391-4A00-A161-8DEAD59A53FF}"/>
              </a:ext>
            </a:extLst>
          </p:cNvPr>
          <p:cNvSpPr txBox="1">
            <a:spLocks/>
          </p:cNvSpPr>
          <p:nvPr/>
        </p:nvSpPr>
        <p:spPr>
          <a:xfrm>
            <a:off x="372558" y="1191809"/>
            <a:ext cx="10972800" cy="932563"/>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gradFill>
                  <a:gsLst>
                    <a:gs pos="1250">
                      <a:srgbClr val="353535"/>
                    </a:gs>
                    <a:gs pos="99000">
                      <a:srgbClr val="353535"/>
                    </a:gs>
                  </a:gsLst>
                  <a:lin ang="5400000" scaled="0"/>
                </a:gradFill>
                <a:effectLst/>
                <a:uLnTx/>
                <a:uFillTx/>
                <a:latin typeface="Segoe UI Light"/>
                <a:ea typeface="+mn-ea"/>
                <a:cs typeface="+mn-cs"/>
              </a:rPr>
              <a:t>Azure provides many options for each layer</a:t>
            </a:r>
          </a:p>
          <a:p>
            <a:pPr marL="342900" marR="0" lvl="1" indent="0" algn="l" defTabSz="932742" rtl="0" eaLnBrk="1" fontAlgn="auto" latinLnBrk="0" hangingPunct="1">
              <a:lnSpc>
                <a:spcPct val="90000"/>
              </a:lnSpc>
              <a:spcBef>
                <a:spcPct val="20000"/>
              </a:spcBef>
              <a:spcAft>
                <a:spcPts val="0"/>
              </a:spcAft>
              <a:buClrTx/>
              <a:buSzPct val="90000"/>
              <a:buFontTx/>
              <a:buNone/>
              <a:tabLst/>
              <a:defRPr/>
            </a:pPr>
            <a:endParaRPr kumimoji="0" lang="en-US" sz="16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endParaRPr>
          </a:p>
        </p:txBody>
      </p:sp>
      <p:sp>
        <p:nvSpPr>
          <p:cNvPr id="7" name="Rectangle 6">
            <a:extLst>
              <a:ext uri="{FF2B5EF4-FFF2-40B4-BE49-F238E27FC236}">
                <a16:creationId xmlns:a16="http://schemas.microsoft.com/office/drawing/2014/main" id="{50165163-0302-4DFB-94C6-ABFFD29131B8}"/>
              </a:ext>
            </a:extLst>
          </p:cNvPr>
          <p:cNvSpPr/>
          <p:nvPr/>
        </p:nvSpPr>
        <p:spPr>
          <a:xfrm>
            <a:off x="2264593" y="3095431"/>
            <a:ext cx="135523"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8" name="Rectangle 7">
            <a:extLst>
              <a:ext uri="{FF2B5EF4-FFF2-40B4-BE49-F238E27FC236}">
                <a16:creationId xmlns:a16="http://schemas.microsoft.com/office/drawing/2014/main" id="{02D99602-C818-4FB3-9BF3-A2EF989D53BA}"/>
              </a:ext>
            </a:extLst>
          </p:cNvPr>
          <p:cNvSpPr/>
          <p:nvPr/>
        </p:nvSpPr>
        <p:spPr>
          <a:xfrm>
            <a:off x="3582774" y="3093863"/>
            <a:ext cx="135523"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9" name="Rectangle 8">
            <a:extLst>
              <a:ext uri="{FF2B5EF4-FFF2-40B4-BE49-F238E27FC236}">
                <a16:creationId xmlns:a16="http://schemas.microsoft.com/office/drawing/2014/main" id="{FC278A4B-D4D6-47F6-848E-E97E9AB293CD}"/>
              </a:ext>
            </a:extLst>
          </p:cNvPr>
          <p:cNvSpPr>
            <a:spLocks noChangeAspect="1"/>
          </p:cNvSpPr>
          <p:nvPr/>
        </p:nvSpPr>
        <p:spPr>
          <a:xfrm>
            <a:off x="10426643" y="1252619"/>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Power BI</a:t>
            </a:r>
          </a:p>
        </p:txBody>
      </p:sp>
      <p:sp>
        <p:nvSpPr>
          <p:cNvPr id="10" name="Rectangle 9">
            <a:extLst>
              <a:ext uri="{FF2B5EF4-FFF2-40B4-BE49-F238E27FC236}">
                <a16:creationId xmlns:a16="http://schemas.microsoft.com/office/drawing/2014/main" id="{C1BDCAFD-6CB7-491C-9EB4-DF274B4DC531}"/>
              </a:ext>
            </a:extLst>
          </p:cNvPr>
          <p:cNvSpPr>
            <a:spLocks noChangeAspect="1"/>
          </p:cNvSpPr>
          <p:nvPr/>
        </p:nvSpPr>
        <p:spPr>
          <a:xfrm>
            <a:off x="10426643" y="1751025"/>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Excel</a:t>
            </a:r>
          </a:p>
        </p:txBody>
      </p:sp>
      <p:sp>
        <p:nvSpPr>
          <p:cNvPr id="11" name="Rectangle 10">
            <a:extLst>
              <a:ext uri="{FF2B5EF4-FFF2-40B4-BE49-F238E27FC236}">
                <a16:creationId xmlns:a16="http://schemas.microsoft.com/office/drawing/2014/main" id="{4656512D-6415-4F31-935F-97A35FC43D9D}"/>
              </a:ext>
            </a:extLst>
          </p:cNvPr>
          <p:cNvSpPr>
            <a:spLocks noChangeAspect="1"/>
          </p:cNvSpPr>
          <p:nvPr/>
        </p:nvSpPr>
        <p:spPr>
          <a:xfrm>
            <a:off x="10426643" y="2757725"/>
            <a:ext cx="1463126" cy="41974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Custom Apps</a:t>
            </a:r>
          </a:p>
        </p:txBody>
      </p:sp>
      <p:sp>
        <p:nvSpPr>
          <p:cNvPr id="12" name="Rectangle 11">
            <a:extLst>
              <a:ext uri="{FF2B5EF4-FFF2-40B4-BE49-F238E27FC236}">
                <a16:creationId xmlns:a16="http://schemas.microsoft.com/office/drawing/2014/main" id="{F4C9B435-6DF5-44D6-A6BA-3A455BBAB245}"/>
              </a:ext>
            </a:extLst>
          </p:cNvPr>
          <p:cNvSpPr>
            <a:spLocks noChangeAspect="1"/>
          </p:cNvSpPr>
          <p:nvPr/>
        </p:nvSpPr>
        <p:spPr>
          <a:xfrm>
            <a:off x="10426643" y="3274787"/>
            <a:ext cx="1463126" cy="41974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Command Line</a:t>
            </a:r>
          </a:p>
        </p:txBody>
      </p:sp>
      <p:sp>
        <p:nvSpPr>
          <p:cNvPr id="13" name="TextBox 12">
            <a:extLst>
              <a:ext uri="{FF2B5EF4-FFF2-40B4-BE49-F238E27FC236}">
                <a16:creationId xmlns:a16="http://schemas.microsoft.com/office/drawing/2014/main" id="{8D881458-0EBC-4588-9979-0C7C4A52A532}"/>
              </a:ext>
            </a:extLst>
          </p:cNvPr>
          <p:cNvSpPr txBox="1"/>
          <p:nvPr/>
        </p:nvSpPr>
        <p:spPr>
          <a:xfrm>
            <a:off x="10358268" y="982662"/>
            <a:ext cx="102944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Semilight"/>
                <a:ea typeface="+mn-ea"/>
                <a:cs typeface="+mn-cs"/>
              </a:rPr>
              <a:t>Analytics Clients</a:t>
            </a:r>
          </a:p>
        </p:txBody>
      </p:sp>
      <p:sp>
        <p:nvSpPr>
          <p:cNvPr id="14" name="Rectangle 13">
            <a:extLst>
              <a:ext uri="{FF2B5EF4-FFF2-40B4-BE49-F238E27FC236}">
                <a16:creationId xmlns:a16="http://schemas.microsoft.com/office/drawing/2014/main" id="{54B4C460-B6C1-45B0-8904-9AD5A7C6B617}"/>
              </a:ext>
            </a:extLst>
          </p:cNvPr>
          <p:cNvSpPr>
            <a:spLocks noChangeAspect="1"/>
          </p:cNvSpPr>
          <p:nvPr/>
        </p:nvSpPr>
        <p:spPr>
          <a:xfrm>
            <a:off x="10426643" y="2254375"/>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ML</a:t>
            </a:r>
          </a:p>
        </p:txBody>
      </p:sp>
      <p:sp>
        <p:nvSpPr>
          <p:cNvPr id="15" name="Rectangle 14">
            <a:extLst>
              <a:ext uri="{FF2B5EF4-FFF2-40B4-BE49-F238E27FC236}">
                <a16:creationId xmlns:a16="http://schemas.microsoft.com/office/drawing/2014/main" id="{0F20A4CD-F44B-4BB8-94CE-689AB4413A1C}"/>
              </a:ext>
            </a:extLst>
          </p:cNvPr>
          <p:cNvSpPr>
            <a:spLocks noChangeAspect="1"/>
          </p:cNvSpPr>
          <p:nvPr/>
        </p:nvSpPr>
        <p:spPr>
          <a:xfrm>
            <a:off x="7730560" y="4488770"/>
            <a:ext cx="852519" cy="384982"/>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SQL DW</a:t>
            </a:r>
          </a:p>
        </p:txBody>
      </p:sp>
      <p:sp>
        <p:nvSpPr>
          <p:cNvPr id="16" name="TextBox 15">
            <a:extLst>
              <a:ext uri="{FF2B5EF4-FFF2-40B4-BE49-F238E27FC236}">
                <a16:creationId xmlns:a16="http://schemas.microsoft.com/office/drawing/2014/main" id="{E8C8384A-F48E-4614-9FA2-8E31CD816F4B}"/>
              </a:ext>
            </a:extLst>
          </p:cNvPr>
          <p:cNvSpPr txBox="1"/>
          <p:nvPr/>
        </p:nvSpPr>
        <p:spPr>
          <a:xfrm>
            <a:off x="3799700" y="4189328"/>
            <a:ext cx="9644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Semilight"/>
                <a:ea typeface="+mn-ea"/>
                <a:cs typeface="+mn-cs"/>
              </a:rPr>
              <a:t>Batch Layer</a:t>
            </a:r>
          </a:p>
        </p:txBody>
      </p:sp>
      <p:sp>
        <p:nvSpPr>
          <p:cNvPr id="17" name="TextBox 16">
            <a:extLst>
              <a:ext uri="{FF2B5EF4-FFF2-40B4-BE49-F238E27FC236}">
                <a16:creationId xmlns:a16="http://schemas.microsoft.com/office/drawing/2014/main" id="{2D25BD77-85B3-490F-80EA-A471C64C0293}"/>
              </a:ext>
            </a:extLst>
          </p:cNvPr>
          <p:cNvSpPr txBox="1"/>
          <p:nvPr/>
        </p:nvSpPr>
        <p:spPr>
          <a:xfrm>
            <a:off x="7654166" y="4238825"/>
            <a:ext cx="168827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Semilight"/>
                <a:ea typeface="+mn-ea"/>
                <a:cs typeface="+mn-cs"/>
              </a:rPr>
              <a:t>Batch View Serving Layer</a:t>
            </a:r>
          </a:p>
        </p:txBody>
      </p:sp>
      <p:sp>
        <p:nvSpPr>
          <p:cNvPr id="18" name="TextBox 17">
            <a:extLst>
              <a:ext uri="{FF2B5EF4-FFF2-40B4-BE49-F238E27FC236}">
                <a16:creationId xmlns:a16="http://schemas.microsoft.com/office/drawing/2014/main" id="{A35B5086-47F7-42FD-9BEA-B5C5FD1B25B4}"/>
              </a:ext>
            </a:extLst>
          </p:cNvPr>
          <p:cNvSpPr txBox="1"/>
          <p:nvPr/>
        </p:nvSpPr>
        <p:spPr>
          <a:xfrm>
            <a:off x="7664858" y="1837787"/>
            <a:ext cx="91587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Semilight"/>
                <a:ea typeface="+mn-ea"/>
                <a:cs typeface="+mn-cs"/>
              </a:rPr>
              <a:t>Speed Layer</a:t>
            </a:r>
          </a:p>
        </p:txBody>
      </p:sp>
      <p:sp>
        <p:nvSpPr>
          <p:cNvPr id="19" name="Rectangle 18">
            <a:extLst>
              <a:ext uri="{FF2B5EF4-FFF2-40B4-BE49-F238E27FC236}">
                <a16:creationId xmlns:a16="http://schemas.microsoft.com/office/drawing/2014/main" id="{0EE2010D-C673-4536-AA62-377780E65D4F}"/>
              </a:ext>
            </a:extLst>
          </p:cNvPr>
          <p:cNvSpPr>
            <a:spLocks noChangeAspect="1"/>
          </p:cNvSpPr>
          <p:nvPr/>
        </p:nvSpPr>
        <p:spPr>
          <a:xfrm>
            <a:off x="3523440" y="4761884"/>
            <a:ext cx="1463126" cy="43263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HDFS</a:t>
            </a:r>
          </a:p>
        </p:txBody>
      </p:sp>
      <p:sp>
        <p:nvSpPr>
          <p:cNvPr id="20" name="Rectangle 19">
            <a:extLst>
              <a:ext uri="{FF2B5EF4-FFF2-40B4-BE49-F238E27FC236}">
                <a16:creationId xmlns:a16="http://schemas.microsoft.com/office/drawing/2014/main" id="{13D3EFEA-339A-40DB-84E4-080F0B754967}"/>
              </a:ext>
            </a:extLst>
          </p:cNvPr>
          <p:cNvSpPr>
            <a:spLocks noChangeAspect="1"/>
          </p:cNvSpPr>
          <p:nvPr/>
        </p:nvSpPr>
        <p:spPr>
          <a:xfrm>
            <a:off x="3866942" y="4519689"/>
            <a:ext cx="1210731" cy="333279"/>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Data Lake</a:t>
            </a:r>
          </a:p>
        </p:txBody>
      </p:sp>
      <p:sp>
        <p:nvSpPr>
          <p:cNvPr id="21" name="TextBox 20">
            <a:extLst>
              <a:ext uri="{FF2B5EF4-FFF2-40B4-BE49-F238E27FC236}">
                <a16:creationId xmlns:a16="http://schemas.microsoft.com/office/drawing/2014/main" id="{AD980644-9B62-41C7-8AE8-260E8CEF46DD}"/>
              </a:ext>
            </a:extLst>
          </p:cNvPr>
          <p:cNvSpPr txBox="1"/>
          <p:nvPr/>
        </p:nvSpPr>
        <p:spPr>
          <a:xfrm>
            <a:off x="372558" y="2357021"/>
            <a:ext cx="60774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Semilight"/>
                <a:ea typeface="+mn-ea"/>
                <a:cs typeface="+mn-cs"/>
              </a:rPr>
              <a:t>Ingest</a:t>
            </a:r>
          </a:p>
        </p:txBody>
      </p:sp>
      <p:sp>
        <p:nvSpPr>
          <p:cNvPr id="22" name="Rectangle 21">
            <a:extLst>
              <a:ext uri="{FF2B5EF4-FFF2-40B4-BE49-F238E27FC236}">
                <a16:creationId xmlns:a16="http://schemas.microsoft.com/office/drawing/2014/main" id="{BF086CB4-307D-4227-B159-10FB210F263A}"/>
              </a:ext>
            </a:extLst>
          </p:cNvPr>
          <p:cNvSpPr>
            <a:spLocks noChangeAspect="1"/>
          </p:cNvSpPr>
          <p:nvPr/>
        </p:nvSpPr>
        <p:spPr>
          <a:xfrm>
            <a:off x="404330" y="2674119"/>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Event Hubs</a:t>
            </a:r>
          </a:p>
        </p:txBody>
      </p:sp>
      <p:sp>
        <p:nvSpPr>
          <p:cNvPr id="23" name="Rectangle 22">
            <a:extLst>
              <a:ext uri="{FF2B5EF4-FFF2-40B4-BE49-F238E27FC236}">
                <a16:creationId xmlns:a16="http://schemas.microsoft.com/office/drawing/2014/main" id="{8E3B9581-116B-4C10-83FD-5A80AF8E50B7}"/>
              </a:ext>
            </a:extLst>
          </p:cNvPr>
          <p:cNvSpPr>
            <a:spLocks noChangeAspect="1"/>
          </p:cNvSpPr>
          <p:nvPr/>
        </p:nvSpPr>
        <p:spPr>
          <a:xfrm>
            <a:off x="2260892" y="2674119"/>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Stream Analytics</a:t>
            </a:r>
          </a:p>
        </p:txBody>
      </p:sp>
      <p:sp>
        <p:nvSpPr>
          <p:cNvPr id="24" name="Rectangle 23">
            <a:extLst>
              <a:ext uri="{FF2B5EF4-FFF2-40B4-BE49-F238E27FC236}">
                <a16:creationId xmlns:a16="http://schemas.microsoft.com/office/drawing/2014/main" id="{1EFEC723-DA3D-43A4-86FB-F76663E3DC23}"/>
              </a:ext>
            </a:extLst>
          </p:cNvPr>
          <p:cNvSpPr>
            <a:spLocks noChangeAspect="1"/>
          </p:cNvSpPr>
          <p:nvPr/>
        </p:nvSpPr>
        <p:spPr>
          <a:xfrm>
            <a:off x="2255171" y="3198499"/>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HDInsight Storm</a:t>
            </a:r>
          </a:p>
        </p:txBody>
      </p:sp>
      <p:sp>
        <p:nvSpPr>
          <p:cNvPr id="25" name="TextBox 24">
            <a:extLst>
              <a:ext uri="{FF2B5EF4-FFF2-40B4-BE49-F238E27FC236}">
                <a16:creationId xmlns:a16="http://schemas.microsoft.com/office/drawing/2014/main" id="{AA5FB995-A3BF-400C-90E6-C8042A90577A}"/>
              </a:ext>
            </a:extLst>
          </p:cNvPr>
          <p:cNvSpPr txBox="1"/>
          <p:nvPr/>
        </p:nvSpPr>
        <p:spPr>
          <a:xfrm>
            <a:off x="2164064" y="2366342"/>
            <a:ext cx="149489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Semilight"/>
                <a:ea typeface="+mn-ea"/>
                <a:cs typeface="+mn-cs"/>
              </a:rPr>
              <a:t>Stream Processing</a:t>
            </a:r>
          </a:p>
        </p:txBody>
      </p:sp>
      <p:cxnSp>
        <p:nvCxnSpPr>
          <p:cNvPr id="26" name="Elbow Connector 25">
            <a:extLst>
              <a:ext uri="{FF2B5EF4-FFF2-40B4-BE49-F238E27FC236}">
                <a16:creationId xmlns:a16="http://schemas.microsoft.com/office/drawing/2014/main" id="{2BBA8435-74C9-4F14-92F3-9A01886B3157}"/>
              </a:ext>
            </a:extLst>
          </p:cNvPr>
          <p:cNvCxnSpPr/>
          <p:nvPr/>
        </p:nvCxnSpPr>
        <p:spPr>
          <a:xfrm>
            <a:off x="3718297" y="3155419"/>
            <a:ext cx="408085" cy="1033909"/>
          </a:xfrm>
          <a:prstGeom prst="bentConnector2">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EAB62514-C08B-4067-A77C-2C4C01232653}"/>
              </a:ext>
            </a:extLst>
          </p:cNvPr>
          <p:cNvCxnSpPr>
            <a:stCxn id="21" idx="3"/>
            <a:endCxn id="25" idx="0"/>
          </p:cNvCxnSpPr>
          <p:nvPr/>
        </p:nvCxnSpPr>
        <p:spPr>
          <a:xfrm flipV="1">
            <a:off x="980304" y="2366342"/>
            <a:ext cx="1931210" cy="113790"/>
          </a:xfrm>
          <a:prstGeom prst="bentConnector4">
            <a:avLst>
              <a:gd name="adj1" fmla="val 30648"/>
              <a:gd name="adj2" fmla="val 309088"/>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6F29168-5F0C-48ED-B895-7B9E9C808661}"/>
              </a:ext>
            </a:extLst>
          </p:cNvPr>
          <p:cNvSpPr>
            <a:spLocks noChangeAspect="1"/>
          </p:cNvSpPr>
          <p:nvPr/>
        </p:nvSpPr>
        <p:spPr>
          <a:xfrm>
            <a:off x="7728213" y="2116445"/>
            <a:ext cx="852519" cy="384982"/>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SQL DB</a:t>
            </a:r>
          </a:p>
        </p:txBody>
      </p:sp>
      <p:sp>
        <p:nvSpPr>
          <p:cNvPr id="29" name="Rectangle 28">
            <a:extLst>
              <a:ext uri="{FF2B5EF4-FFF2-40B4-BE49-F238E27FC236}">
                <a16:creationId xmlns:a16="http://schemas.microsoft.com/office/drawing/2014/main" id="{62CF844C-715F-4383-9D61-DCE9CC2318EC}"/>
              </a:ext>
            </a:extLst>
          </p:cNvPr>
          <p:cNvSpPr>
            <a:spLocks noChangeAspect="1"/>
          </p:cNvSpPr>
          <p:nvPr/>
        </p:nvSpPr>
        <p:spPr>
          <a:xfrm>
            <a:off x="7724192" y="2611668"/>
            <a:ext cx="852519" cy="384982"/>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Redis</a:t>
            </a:r>
          </a:p>
        </p:txBody>
      </p:sp>
      <p:cxnSp>
        <p:nvCxnSpPr>
          <p:cNvPr id="30" name="Elbow Connector 29">
            <a:extLst>
              <a:ext uri="{FF2B5EF4-FFF2-40B4-BE49-F238E27FC236}">
                <a16:creationId xmlns:a16="http://schemas.microsoft.com/office/drawing/2014/main" id="{1C5E2B9E-2BA3-48B0-8E29-795BB2D47503}"/>
              </a:ext>
            </a:extLst>
          </p:cNvPr>
          <p:cNvCxnSpPr>
            <a:endCxn id="36" idx="1"/>
          </p:cNvCxnSpPr>
          <p:nvPr/>
        </p:nvCxnSpPr>
        <p:spPr>
          <a:xfrm flipV="1">
            <a:off x="3718297" y="1960898"/>
            <a:ext cx="3946561" cy="1194521"/>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C1A75B3A-75C3-4B34-9AF6-56F6F90D9AFA}"/>
              </a:ext>
            </a:extLst>
          </p:cNvPr>
          <p:cNvCxnSpPr>
            <a:stCxn id="40" idx="0"/>
            <a:endCxn id="17" idx="1"/>
          </p:cNvCxnSpPr>
          <p:nvPr/>
        </p:nvCxnSpPr>
        <p:spPr>
          <a:xfrm rot="16200000" flipH="1">
            <a:off x="6676258" y="3384029"/>
            <a:ext cx="612559" cy="1343255"/>
          </a:xfrm>
          <a:prstGeom prst="bentConnector4">
            <a:avLst>
              <a:gd name="adj1" fmla="val -37319"/>
              <a:gd name="adj2" fmla="val 77822"/>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922D078E-E59C-49E3-ABAA-948B58E4192E}"/>
              </a:ext>
            </a:extLst>
          </p:cNvPr>
          <p:cNvSpPr>
            <a:spLocks noChangeAspect="1"/>
          </p:cNvSpPr>
          <p:nvPr/>
        </p:nvSpPr>
        <p:spPr>
          <a:xfrm>
            <a:off x="7724191" y="5016311"/>
            <a:ext cx="852519" cy="384982"/>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HBase + Phoenix</a:t>
            </a:r>
          </a:p>
        </p:txBody>
      </p:sp>
      <p:sp>
        <p:nvSpPr>
          <p:cNvPr id="33" name="Rectangle 32">
            <a:extLst>
              <a:ext uri="{FF2B5EF4-FFF2-40B4-BE49-F238E27FC236}">
                <a16:creationId xmlns:a16="http://schemas.microsoft.com/office/drawing/2014/main" id="{B88BB7C3-D886-4905-9FA6-C3B56FA9C8C6}"/>
              </a:ext>
            </a:extLst>
          </p:cNvPr>
          <p:cNvSpPr>
            <a:spLocks noChangeAspect="1"/>
          </p:cNvSpPr>
          <p:nvPr/>
        </p:nvSpPr>
        <p:spPr>
          <a:xfrm>
            <a:off x="8883839" y="4487728"/>
            <a:ext cx="852519" cy="384982"/>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Search</a:t>
            </a:r>
          </a:p>
        </p:txBody>
      </p:sp>
      <p:cxnSp>
        <p:nvCxnSpPr>
          <p:cNvPr id="34" name="Elbow Connector 33">
            <a:extLst>
              <a:ext uri="{FF2B5EF4-FFF2-40B4-BE49-F238E27FC236}">
                <a16:creationId xmlns:a16="http://schemas.microsoft.com/office/drawing/2014/main" id="{5315C359-1A95-41D3-B2F5-EAAB4CF4686E}"/>
              </a:ext>
            </a:extLst>
          </p:cNvPr>
          <p:cNvCxnSpPr>
            <a:stCxn id="36" idx="3"/>
          </p:cNvCxnSpPr>
          <p:nvPr/>
        </p:nvCxnSpPr>
        <p:spPr>
          <a:xfrm flipV="1">
            <a:off x="8580732" y="1105773"/>
            <a:ext cx="1777536" cy="855125"/>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EF47C2BD-35D2-4C58-9C0A-9D99686FF8C9}"/>
              </a:ext>
            </a:extLst>
          </p:cNvPr>
          <p:cNvCxnSpPr/>
          <p:nvPr/>
        </p:nvCxnSpPr>
        <p:spPr>
          <a:xfrm flipV="1">
            <a:off x="9149065" y="1105773"/>
            <a:ext cx="1209203" cy="3206666"/>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9CD55E3-C24E-4D0B-9279-396A26700768}"/>
              </a:ext>
            </a:extLst>
          </p:cNvPr>
          <p:cNvSpPr>
            <a:spLocks noChangeAspect="1"/>
          </p:cNvSpPr>
          <p:nvPr/>
        </p:nvSpPr>
        <p:spPr>
          <a:xfrm>
            <a:off x="2255171" y="3722880"/>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HDInsight Spark Streaming</a:t>
            </a:r>
          </a:p>
        </p:txBody>
      </p:sp>
      <p:sp>
        <p:nvSpPr>
          <p:cNvPr id="37" name="Rectangle 36">
            <a:extLst>
              <a:ext uri="{FF2B5EF4-FFF2-40B4-BE49-F238E27FC236}">
                <a16:creationId xmlns:a16="http://schemas.microsoft.com/office/drawing/2014/main" id="{8D7AA32B-07CE-454C-B4CA-169CA516AFE5}"/>
              </a:ext>
            </a:extLst>
          </p:cNvPr>
          <p:cNvSpPr>
            <a:spLocks noChangeAspect="1"/>
          </p:cNvSpPr>
          <p:nvPr/>
        </p:nvSpPr>
        <p:spPr>
          <a:xfrm>
            <a:off x="404330" y="3246600"/>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Import/Export Service</a:t>
            </a:r>
          </a:p>
        </p:txBody>
      </p:sp>
      <p:sp>
        <p:nvSpPr>
          <p:cNvPr id="38" name="Rectangle 37">
            <a:extLst>
              <a:ext uri="{FF2B5EF4-FFF2-40B4-BE49-F238E27FC236}">
                <a16:creationId xmlns:a16="http://schemas.microsoft.com/office/drawing/2014/main" id="{1C0C29CB-F76D-4D1E-BC52-C9B12C7B7AAB}"/>
              </a:ext>
            </a:extLst>
          </p:cNvPr>
          <p:cNvSpPr>
            <a:spLocks noChangeAspect="1"/>
          </p:cNvSpPr>
          <p:nvPr/>
        </p:nvSpPr>
        <p:spPr>
          <a:xfrm>
            <a:off x="410940" y="3819081"/>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Data Factory</a:t>
            </a:r>
          </a:p>
        </p:txBody>
      </p:sp>
      <p:sp>
        <p:nvSpPr>
          <p:cNvPr id="39" name="Rectangle 38">
            <a:extLst>
              <a:ext uri="{FF2B5EF4-FFF2-40B4-BE49-F238E27FC236}">
                <a16:creationId xmlns:a16="http://schemas.microsoft.com/office/drawing/2014/main" id="{5FC6E81A-577C-43C3-A0BA-A77EE97EEBC3}"/>
              </a:ext>
            </a:extLst>
          </p:cNvPr>
          <p:cNvSpPr>
            <a:spLocks noChangeAspect="1"/>
          </p:cNvSpPr>
          <p:nvPr/>
        </p:nvSpPr>
        <p:spPr>
          <a:xfrm>
            <a:off x="410940" y="4391563"/>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HDInsight Sqoop</a:t>
            </a:r>
          </a:p>
        </p:txBody>
      </p:sp>
      <p:sp>
        <p:nvSpPr>
          <p:cNvPr id="40" name="TextBox 39">
            <a:extLst>
              <a:ext uri="{FF2B5EF4-FFF2-40B4-BE49-F238E27FC236}">
                <a16:creationId xmlns:a16="http://schemas.microsoft.com/office/drawing/2014/main" id="{C1A1B771-C6B9-46CD-9E49-25B33CF18A6D}"/>
              </a:ext>
            </a:extLst>
          </p:cNvPr>
          <p:cNvSpPr txBox="1"/>
          <p:nvPr/>
        </p:nvSpPr>
        <p:spPr>
          <a:xfrm>
            <a:off x="5563461" y="3749377"/>
            <a:ext cx="149489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Semilight"/>
                <a:ea typeface="+mn-ea"/>
                <a:cs typeface="+mn-cs"/>
              </a:rPr>
              <a:t>Batch Processing</a:t>
            </a:r>
          </a:p>
        </p:txBody>
      </p:sp>
      <p:sp>
        <p:nvSpPr>
          <p:cNvPr id="41" name="Rectangle 40">
            <a:extLst>
              <a:ext uri="{FF2B5EF4-FFF2-40B4-BE49-F238E27FC236}">
                <a16:creationId xmlns:a16="http://schemas.microsoft.com/office/drawing/2014/main" id="{98BA2E27-0B13-44BA-AE26-39DD2CBAB097}"/>
              </a:ext>
            </a:extLst>
          </p:cNvPr>
          <p:cNvSpPr>
            <a:spLocks noChangeAspect="1"/>
          </p:cNvSpPr>
          <p:nvPr/>
        </p:nvSpPr>
        <p:spPr>
          <a:xfrm>
            <a:off x="5671562" y="3988882"/>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HDInsight (MapReduce, Pig, Tez, Spark)</a:t>
            </a:r>
          </a:p>
        </p:txBody>
      </p:sp>
      <p:sp>
        <p:nvSpPr>
          <p:cNvPr id="42" name="Rectangle 41">
            <a:extLst>
              <a:ext uri="{FF2B5EF4-FFF2-40B4-BE49-F238E27FC236}">
                <a16:creationId xmlns:a16="http://schemas.microsoft.com/office/drawing/2014/main" id="{6DE26EE1-31BD-4A46-83BA-8CF3F93AF421}"/>
              </a:ext>
            </a:extLst>
          </p:cNvPr>
          <p:cNvSpPr>
            <a:spLocks noChangeAspect="1"/>
          </p:cNvSpPr>
          <p:nvPr/>
        </p:nvSpPr>
        <p:spPr>
          <a:xfrm>
            <a:off x="5659006" y="4471984"/>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Batch</a:t>
            </a:r>
          </a:p>
        </p:txBody>
      </p:sp>
      <p:sp>
        <p:nvSpPr>
          <p:cNvPr id="43" name="Rectangle 42">
            <a:extLst>
              <a:ext uri="{FF2B5EF4-FFF2-40B4-BE49-F238E27FC236}">
                <a16:creationId xmlns:a16="http://schemas.microsoft.com/office/drawing/2014/main" id="{5F3D0179-46AC-4F3E-9853-08A574313DA0}"/>
              </a:ext>
            </a:extLst>
          </p:cNvPr>
          <p:cNvSpPr>
            <a:spLocks noChangeAspect="1"/>
          </p:cNvSpPr>
          <p:nvPr/>
        </p:nvSpPr>
        <p:spPr>
          <a:xfrm>
            <a:off x="5671562" y="4962813"/>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SQL DW</a:t>
            </a:r>
          </a:p>
        </p:txBody>
      </p:sp>
      <p:cxnSp>
        <p:nvCxnSpPr>
          <p:cNvPr id="44" name="Elbow Connector 43">
            <a:extLst>
              <a:ext uri="{FF2B5EF4-FFF2-40B4-BE49-F238E27FC236}">
                <a16:creationId xmlns:a16="http://schemas.microsoft.com/office/drawing/2014/main" id="{2AA7B54C-BCFD-4977-B9E9-BB1AF9EE6B49}"/>
              </a:ext>
            </a:extLst>
          </p:cNvPr>
          <p:cNvCxnSpPr>
            <a:stCxn id="16" idx="3"/>
            <a:endCxn id="40" idx="1"/>
          </p:cNvCxnSpPr>
          <p:nvPr/>
        </p:nvCxnSpPr>
        <p:spPr>
          <a:xfrm flipV="1">
            <a:off x="4764116" y="3872488"/>
            <a:ext cx="799345" cy="439951"/>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8F07213-F568-43E8-B009-6982A5C907E2}"/>
              </a:ext>
            </a:extLst>
          </p:cNvPr>
          <p:cNvSpPr>
            <a:spLocks noChangeAspect="1"/>
          </p:cNvSpPr>
          <p:nvPr/>
        </p:nvSpPr>
        <p:spPr>
          <a:xfrm>
            <a:off x="5659006" y="5453642"/>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ML</a:t>
            </a:r>
          </a:p>
        </p:txBody>
      </p:sp>
      <p:sp>
        <p:nvSpPr>
          <p:cNvPr id="46" name="Rectangle 45">
            <a:extLst>
              <a:ext uri="{FF2B5EF4-FFF2-40B4-BE49-F238E27FC236}">
                <a16:creationId xmlns:a16="http://schemas.microsoft.com/office/drawing/2014/main" id="{72B33F62-C3E4-4F0A-A4F7-4F4BA75D9E08}"/>
              </a:ext>
            </a:extLst>
          </p:cNvPr>
          <p:cNvSpPr>
            <a:spLocks noChangeAspect="1"/>
          </p:cNvSpPr>
          <p:nvPr/>
        </p:nvSpPr>
        <p:spPr>
          <a:xfrm>
            <a:off x="5659006" y="5944471"/>
            <a:ext cx="1463126" cy="41974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Azure Data Factory</a:t>
            </a:r>
          </a:p>
        </p:txBody>
      </p:sp>
      <p:sp>
        <p:nvSpPr>
          <p:cNvPr id="47" name="Rectangle 46">
            <a:extLst>
              <a:ext uri="{FF2B5EF4-FFF2-40B4-BE49-F238E27FC236}">
                <a16:creationId xmlns:a16="http://schemas.microsoft.com/office/drawing/2014/main" id="{89736154-5E15-4283-808D-352D5F685E43}"/>
              </a:ext>
            </a:extLst>
          </p:cNvPr>
          <p:cNvSpPr>
            <a:spLocks noChangeAspect="1"/>
          </p:cNvSpPr>
          <p:nvPr/>
        </p:nvSpPr>
        <p:spPr>
          <a:xfrm>
            <a:off x="8655746" y="2122377"/>
            <a:ext cx="852519" cy="384982"/>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Semilight"/>
                <a:ea typeface="+mn-ea"/>
                <a:cs typeface="+mn-cs"/>
              </a:rPr>
              <a:t>DocDB</a:t>
            </a:r>
          </a:p>
        </p:txBody>
      </p:sp>
    </p:spTree>
    <p:extLst>
      <p:ext uri="{BB962C8B-B14F-4D97-AF65-F5344CB8AC3E}">
        <p14:creationId xmlns:p14="http://schemas.microsoft.com/office/powerpoint/2010/main" val="7896717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Cluster Type &amp; Nodes</a:t>
            </a:r>
          </a:p>
        </p:txBody>
      </p:sp>
      <p:graphicFrame>
        <p:nvGraphicFramePr>
          <p:cNvPr id="43" name="Content Placeholder 42"/>
          <p:cNvGraphicFramePr>
            <a:graphicFrameLocks noGrp="1"/>
          </p:cNvGraphicFramePr>
          <p:nvPr>
            <p:ph sz="quarter" idx="10"/>
            <p:extLst>
              <p:ext uri="{D42A27DB-BD31-4B8C-83A1-F6EECF244321}">
                <p14:modId xmlns:p14="http://schemas.microsoft.com/office/powerpoint/2010/main" val="3135945339"/>
              </p:ext>
            </p:extLst>
          </p:nvPr>
        </p:nvGraphicFramePr>
        <p:xfrm>
          <a:off x="1878806" y="1207294"/>
          <a:ext cx="5672138" cy="5486400"/>
        </p:xfrm>
        <a:graphic>
          <a:graphicData uri="http://schemas.openxmlformats.org/drawingml/2006/table">
            <a:tbl>
              <a:tblPr firstRow="1" bandRow="1">
                <a:tableStyleId>{5C22544A-7EE6-4342-B048-85BDC9FD1C3A}</a:tableStyleId>
              </a:tblPr>
              <a:tblGrid>
                <a:gridCol w="3283755">
                  <a:extLst>
                    <a:ext uri="{9D8B030D-6E8A-4147-A177-3AD203B41FA5}">
                      <a16:colId xmlns:a16="http://schemas.microsoft.com/office/drawing/2014/main" val="3086954730"/>
                    </a:ext>
                  </a:extLst>
                </a:gridCol>
                <a:gridCol w="2388383">
                  <a:extLst>
                    <a:ext uri="{9D8B030D-6E8A-4147-A177-3AD203B41FA5}">
                      <a16:colId xmlns:a16="http://schemas.microsoft.com/office/drawing/2014/main" val="3190231876"/>
                    </a:ext>
                  </a:extLst>
                </a:gridCol>
              </a:tblGrid>
              <a:tr h="1961156">
                <a:tc>
                  <a:txBody>
                    <a:bodyPr/>
                    <a:lstStyle/>
                    <a:p>
                      <a:r>
                        <a:rPr lang="en-US" sz="3200" dirty="0">
                          <a:latin typeface="Segoe UI Light" panose="020B0502040204020203" pitchFamily="34" charset="0"/>
                          <a:cs typeface="Segoe UI Light" panose="020B0502040204020203" pitchFamily="34" charset="0"/>
                        </a:rPr>
                        <a:t>Type</a:t>
                      </a:r>
                    </a:p>
                  </a:txBody>
                  <a:tcPr/>
                </a:tc>
                <a:tc>
                  <a:txBody>
                    <a:bodyPr/>
                    <a:lstStyle/>
                    <a:p>
                      <a:r>
                        <a:rPr lang="en-US" sz="3200" b="1" kern="1200" dirty="0">
                          <a:solidFill>
                            <a:schemeClr val="lt1"/>
                          </a:solidFill>
                          <a:latin typeface="Segoe UI Light" panose="020B0502040204020203" pitchFamily="34" charset="0"/>
                          <a:ea typeface="+mn-ea"/>
                          <a:cs typeface="Segoe UI Light" panose="020B0502040204020203" pitchFamily="34" charset="0"/>
                        </a:rPr>
                        <a:t>Nodes</a:t>
                      </a:r>
                    </a:p>
                  </a:txBody>
                  <a:tcPr/>
                </a:tc>
                <a:extLst>
                  <a:ext uri="{0D108BD9-81ED-4DB2-BD59-A6C34878D82A}">
                    <a16:rowId xmlns:a16="http://schemas.microsoft.com/office/drawing/2014/main" val="3256518451"/>
                  </a:ext>
                </a:extLst>
              </a:tr>
              <a:tr h="1762622">
                <a:tc>
                  <a:txBody>
                    <a:bodyPr/>
                    <a:lstStyle/>
                    <a:p>
                      <a:r>
                        <a:rPr lang="en-US" sz="3200" dirty="0">
                          <a:latin typeface="Segoe UI Light" panose="020B0502040204020203" pitchFamily="34" charset="0"/>
                          <a:cs typeface="Segoe UI Light" panose="020B0502040204020203" pitchFamily="34" charset="0"/>
                        </a:rPr>
                        <a:t>Hadoop</a:t>
                      </a:r>
                    </a:p>
                    <a:p>
                      <a:r>
                        <a:rPr lang="en-US" sz="3200" dirty="0">
                          <a:latin typeface="Segoe UI Light" panose="020B0502040204020203" pitchFamily="34" charset="0"/>
                          <a:cs typeface="Segoe UI Light" panose="020B0502040204020203" pitchFamily="34" charset="0"/>
                        </a:rPr>
                        <a:t>2 head+1 plus</a:t>
                      </a:r>
                      <a:r>
                        <a:rPr lang="en-US" sz="3200" baseline="0" dirty="0">
                          <a:latin typeface="Segoe UI Light" panose="020B0502040204020203" pitchFamily="34" charset="0"/>
                          <a:cs typeface="Segoe UI Light" panose="020B0502040204020203" pitchFamily="34" charset="0"/>
                        </a:rPr>
                        <a:t> worker</a:t>
                      </a:r>
                      <a:endParaRPr lang="en-US" sz="3200" dirty="0">
                        <a:latin typeface="Segoe UI Light" panose="020B0502040204020203" pitchFamily="34" charset="0"/>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2996708686"/>
                  </a:ext>
                </a:extLst>
              </a:tr>
              <a:tr h="1762622">
                <a:tc>
                  <a:txBody>
                    <a:bodyPr/>
                    <a:lstStyle/>
                    <a:p>
                      <a:r>
                        <a:rPr lang="en-US" sz="3200" kern="1200" dirty="0" err="1">
                          <a:solidFill>
                            <a:schemeClr val="dk1"/>
                          </a:solidFill>
                          <a:latin typeface="Segoe UI Light" panose="020B0502040204020203" pitchFamily="34" charset="0"/>
                          <a:ea typeface="+mn-ea"/>
                          <a:cs typeface="Segoe UI Light" panose="020B0502040204020203" pitchFamily="34" charset="0"/>
                        </a:rPr>
                        <a:t>HBase</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p>
                      <a:r>
                        <a:rPr lang="en-US" sz="3200" kern="1200" dirty="0">
                          <a:solidFill>
                            <a:schemeClr val="dk1"/>
                          </a:solidFill>
                          <a:latin typeface="Segoe UI Light" panose="020B0502040204020203" pitchFamily="34" charset="0"/>
                          <a:ea typeface="+mn-ea"/>
                          <a:cs typeface="Segoe UI Light" panose="020B0502040204020203" pitchFamily="34" charset="0"/>
                        </a:rPr>
                        <a:t>2 head+3</a:t>
                      </a:r>
                      <a:r>
                        <a:rPr lang="en-US" sz="3200" kern="1200" baseline="0" dirty="0">
                          <a:solidFill>
                            <a:schemeClr val="dk1"/>
                          </a:solidFill>
                          <a:latin typeface="Segoe UI Light" panose="020B0502040204020203" pitchFamily="34" charset="0"/>
                          <a:ea typeface="+mn-ea"/>
                          <a:cs typeface="Segoe UI Light" panose="020B0502040204020203" pitchFamily="34" charset="0"/>
                        </a:rPr>
                        <a:t> ZK+1 plus worker</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160637831"/>
                  </a:ext>
                </a:extLst>
              </a:tr>
            </a:tbl>
          </a:graphicData>
        </a:graphic>
      </p:graphicFrame>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2875" y="3222497"/>
            <a:ext cx="2250938" cy="1649542"/>
          </a:xfrm>
          <a:prstGeom prst="rect">
            <a:avLst/>
          </a:prstGeom>
        </p:spPr>
      </p:pic>
      <p:pic>
        <p:nvPicPr>
          <p:cNvPr id="45" name="Picture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2875" y="4955204"/>
            <a:ext cx="2267879" cy="1738490"/>
          </a:xfrm>
          <a:prstGeom prst="rect">
            <a:avLst/>
          </a:prstGeom>
        </p:spPr>
      </p:pic>
    </p:spTree>
    <p:extLst>
      <p:ext uri="{BB962C8B-B14F-4D97-AF65-F5344CB8AC3E}">
        <p14:creationId xmlns:p14="http://schemas.microsoft.com/office/powerpoint/2010/main" val="3229355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DInsight service entry points</a:t>
            </a:r>
            <a:endParaRPr lang="en-US" dirty="0"/>
          </a:p>
        </p:txBody>
      </p:sp>
      <p:sp>
        <p:nvSpPr>
          <p:cNvPr id="5" name="Content Placeholder 4"/>
          <p:cNvSpPr>
            <a:spLocks noGrp="1"/>
          </p:cNvSpPr>
          <p:nvPr>
            <p:ph sz="quarter" idx="10"/>
          </p:nvPr>
        </p:nvSpPr>
        <p:spPr/>
        <p:txBody>
          <a:bodyPr/>
          <a:lstStyle/>
          <a:p>
            <a:endParaRPr lang="en-US"/>
          </a:p>
        </p:txBody>
      </p:sp>
      <p:sp>
        <p:nvSpPr>
          <p:cNvPr id="30" name="Slide Number Placeholder 29"/>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31</a:t>
            </a:fld>
            <a:endParaRPr lang="en-IN" sz="1765" kern="0" dirty="0">
              <a:solidFill>
                <a:sysClr val="windowText" lastClr="000000"/>
              </a:solidFill>
            </a:endParaRPr>
          </a:p>
        </p:txBody>
      </p:sp>
      <p:sp>
        <p:nvSpPr>
          <p:cNvPr id="4" name="Rectangle 3"/>
          <p:cNvSpPr/>
          <p:nvPr/>
        </p:nvSpPr>
        <p:spPr>
          <a:xfrm>
            <a:off x="2522477" y="1807713"/>
            <a:ext cx="2249118" cy="117673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none" rtlCol="0" anchor="ctr">
            <a:spAutoFit/>
          </a:bodyPr>
          <a:lstStyle/>
          <a:p>
            <a:pPr algn="r" defTabSz="896386"/>
            <a:r>
              <a:rPr lang="en-US" sz="3529" kern="0" dirty="0">
                <a:solidFill>
                  <a:schemeClr val="accent3"/>
                </a:solidFill>
                <a:latin typeface="Segoe UI Semibold" panose="020B0702040204020203" pitchFamily="34" charset="0"/>
                <a:cs typeface="Segoe UI Semibold" panose="020B0702040204020203" pitchFamily="34" charset="0"/>
              </a:rPr>
              <a:t>HDInsight</a:t>
            </a:r>
            <a:br>
              <a:rPr lang="en-US" sz="3529" kern="0" dirty="0">
                <a:solidFill>
                  <a:schemeClr val="accent3"/>
                </a:solidFill>
                <a:latin typeface="Segoe UI Semibold" panose="020B0702040204020203" pitchFamily="34" charset="0"/>
                <a:cs typeface="Segoe UI Semibold" panose="020B0702040204020203" pitchFamily="34" charset="0"/>
              </a:rPr>
            </a:br>
            <a:r>
              <a:rPr lang="en-US" sz="3529" kern="0" dirty="0">
                <a:solidFill>
                  <a:schemeClr val="accent3"/>
                </a:solidFill>
                <a:latin typeface="Segoe UI Semibold" panose="020B0702040204020203" pitchFamily="34" charset="0"/>
                <a:cs typeface="Segoe UI Semibold" panose="020B0702040204020203" pitchFamily="34" charset="0"/>
              </a:rPr>
              <a:t>cluster</a:t>
            </a:r>
          </a:p>
        </p:txBody>
      </p:sp>
      <p:sp>
        <p:nvSpPr>
          <p:cNvPr id="8" name="TextBox 7"/>
          <p:cNvSpPr txBox="1"/>
          <p:nvPr/>
        </p:nvSpPr>
        <p:spPr>
          <a:xfrm>
            <a:off x="2478765" y="4221405"/>
            <a:ext cx="1939543" cy="756854"/>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stStyle>
          <a:p>
            <a:pPr defTabSz="590820"/>
            <a:r>
              <a:rPr lang="en-US" sz="2353" dirty="0">
                <a:latin typeface="Segoe UI Semibold" panose="020B0702040204020203" pitchFamily="34" charset="0"/>
                <a:cs typeface="Segoe UI Semibold" panose="020B0702040204020203" pitchFamily="34" charset="0"/>
              </a:rPr>
              <a:t>REST </a:t>
            </a:r>
          </a:p>
        </p:txBody>
      </p:sp>
      <p:sp>
        <p:nvSpPr>
          <p:cNvPr id="11" name="TextBox 10"/>
          <p:cNvSpPr txBox="1"/>
          <p:nvPr/>
        </p:nvSpPr>
        <p:spPr>
          <a:xfrm>
            <a:off x="455995" y="5126916"/>
            <a:ext cx="2531208"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SDK</a:t>
            </a:r>
          </a:p>
        </p:txBody>
      </p:sp>
      <p:sp>
        <p:nvSpPr>
          <p:cNvPr id="12" name="TextBox 11"/>
          <p:cNvSpPr txBox="1"/>
          <p:nvPr/>
        </p:nvSpPr>
        <p:spPr>
          <a:xfrm>
            <a:off x="575864" y="5543381"/>
            <a:ext cx="229147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Query console</a:t>
            </a:r>
          </a:p>
          <a:p>
            <a:pPr algn="ctr" defTabSz="896386"/>
            <a:r>
              <a:rPr lang="en-US" sz="1961" kern="0" dirty="0">
                <a:solidFill>
                  <a:schemeClr val="bg1"/>
                </a:solidFill>
              </a:rPr>
              <a:t>PowerShell</a:t>
            </a:r>
          </a:p>
        </p:txBody>
      </p:sp>
      <p:sp>
        <p:nvSpPr>
          <p:cNvPr id="20" name="TextBox 19"/>
          <p:cNvSpPr txBox="1"/>
          <p:nvPr/>
        </p:nvSpPr>
        <p:spPr>
          <a:xfrm>
            <a:off x="3906834" y="5126916"/>
            <a:ext cx="2554592"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ODBC</a:t>
            </a:r>
          </a:p>
        </p:txBody>
      </p:sp>
      <p:sp>
        <p:nvSpPr>
          <p:cNvPr id="24" name="TextBox 23"/>
          <p:cNvSpPr txBox="1"/>
          <p:nvPr/>
        </p:nvSpPr>
        <p:spPr>
          <a:xfrm>
            <a:off x="4036469" y="5543381"/>
            <a:ext cx="229532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Excel Visual </a:t>
            </a:r>
            <a:br>
              <a:rPr lang="en-US" sz="1961" kern="0" dirty="0">
                <a:solidFill>
                  <a:schemeClr val="bg1"/>
                </a:solidFill>
              </a:rPr>
            </a:br>
            <a:r>
              <a:rPr lang="en-US" sz="1961" kern="0" dirty="0">
                <a:solidFill>
                  <a:schemeClr val="bg1"/>
                </a:solidFill>
              </a:rPr>
              <a:t>Studio plugin</a:t>
            </a:r>
          </a:p>
        </p:txBody>
      </p:sp>
      <p:cxnSp>
        <p:nvCxnSpPr>
          <p:cNvPr id="69" name="Elbow Connector 68"/>
          <p:cNvCxnSpPr>
            <a:stCxn id="11" idx="0"/>
            <a:endCxn id="8" idx="1"/>
          </p:cNvCxnSpPr>
          <p:nvPr/>
        </p:nvCxnSpPr>
        <p:spPr>
          <a:xfrm rot="5400000" flipH="1" flipV="1">
            <a:off x="1836640" y="4484792"/>
            <a:ext cx="527084" cy="757165"/>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rot="16200000" flipV="1">
            <a:off x="4537678" y="4480463"/>
            <a:ext cx="527084" cy="765823"/>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5" name="Oval 94"/>
          <p:cNvSpPr/>
          <p:nvPr/>
        </p:nvSpPr>
        <p:spPr bwMode="auto">
          <a:xfrm>
            <a:off x="165884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96" name="Oval 95"/>
          <p:cNvSpPr/>
          <p:nvPr/>
        </p:nvSpPr>
        <p:spPr bwMode="auto">
          <a:xfrm>
            <a:off x="512137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0" name="TextBox 9"/>
          <p:cNvSpPr txBox="1"/>
          <p:nvPr/>
        </p:nvSpPr>
        <p:spPr>
          <a:xfrm>
            <a:off x="6710738" y="4130544"/>
            <a:ext cx="5063132" cy="949684"/>
          </a:xfrm>
          <a:prstGeom prst="rect">
            <a:avLst/>
          </a:prstGeom>
          <a:noFill/>
          <a:ln w="3175">
            <a:solidFill>
              <a:schemeClr val="bg1">
                <a:lumMod val="75000"/>
              </a:schemeClr>
            </a:solidFill>
          </a:ln>
        </p:spPr>
        <p:txBody>
          <a:bodyPr wrap="square" lIns="493034" tIns="44821" rIns="89642" bIns="44821" rtlCol="0" anchor="ctr">
            <a:noAutofit/>
          </a:bodyPr>
          <a:lstStyle/>
          <a:p>
            <a:pPr marL="0" lvl="1" defTabSz="896386" fontAlgn="base">
              <a:spcBef>
                <a:spcPts val="588"/>
              </a:spcBef>
              <a:spcAft>
                <a:spcPts val="588"/>
              </a:spcAft>
              <a:buClr>
                <a:schemeClr val="accent3">
                  <a:lumMod val="50000"/>
                </a:schemeClr>
              </a:buClr>
              <a:tabLst>
                <a:tab pos="645523" algn="l"/>
              </a:tabLst>
            </a:pPr>
            <a:r>
              <a:rPr lang="en-US" sz="2157" kern="0" dirty="0" err="1">
                <a:solidFill>
                  <a:schemeClr val="tx2"/>
                </a:solidFill>
              </a:rPr>
              <a:t>Oozie</a:t>
            </a:r>
            <a:r>
              <a:rPr lang="en-US" sz="2157" kern="0" dirty="0">
                <a:solidFill>
                  <a:schemeClr val="tx2"/>
                </a:solidFill>
              </a:rPr>
              <a:t> </a:t>
            </a:r>
          </a:p>
          <a:p>
            <a:pPr marL="0" lvl="1" defTabSz="896386" fontAlgn="base">
              <a:spcBef>
                <a:spcPts val="588"/>
              </a:spcBef>
              <a:spcAft>
                <a:spcPts val="588"/>
              </a:spcAft>
              <a:buClr>
                <a:schemeClr val="accent3">
                  <a:lumMod val="50000"/>
                </a:schemeClr>
              </a:buClr>
              <a:tabLst>
                <a:tab pos="645523" algn="l"/>
              </a:tabLst>
            </a:pPr>
            <a:r>
              <a:rPr lang="en-US" sz="2157" kern="0" dirty="0">
                <a:solidFill>
                  <a:schemeClr val="tx2"/>
                </a:solidFill>
              </a:rPr>
              <a:t>Command line</a:t>
            </a:r>
          </a:p>
        </p:txBody>
      </p:sp>
      <p:sp>
        <p:nvSpPr>
          <p:cNvPr id="9" name="TextBox 8"/>
          <p:cNvSpPr txBox="1"/>
          <p:nvPr/>
        </p:nvSpPr>
        <p:spPr>
          <a:xfrm>
            <a:off x="6710737" y="3621921"/>
            <a:ext cx="5063133" cy="515311"/>
          </a:xfrm>
          <a:prstGeom prst="rect">
            <a:avLst/>
          </a:prstGeom>
          <a:solidFill>
            <a:schemeClr val="accent3"/>
          </a:solidFill>
          <a:ln w="3175">
            <a:solidFill>
              <a:schemeClr val="accent3"/>
            </a:solidFill>
          </a:ln>
        </p:spPr>
        <p:txBody>
          <a:bodyPr wrap="square" lIns="89642" tIns="44821" rIns="89642" bIns="44821" rtlCol="0" anchor="ctr">
            <a:noAutofit/>
          </a:bodyPr>
          <a:lstStyle/>
          <a:p>
            <a:pPr defTabSz="590820" fontAlgn="base">
              <a:spcBef>
                <a:spcPct val="0"/>
              </a:spcBef>
              <a:spcAft>
                <a:spcPct val="0"/>
              </a:spcAft>
            </a:pPr>
            <a:r>
              <a:rPr lang="en-US" sz="2353" kern="0" dirty="0">
                <a:solidFill>
                  <a:schemeClr val="bg1"/>
                </a:solidFill>
                <a:latin typeface="Segoe UI Semibold" panose="020B0702040204020203" pitchFamily="34" charset="0"/>
                <a:ea typeface="Segoe UI" pitchFamily="34" charset="0"/>
                <a:cs typeface="Segoe UI Semibold" panose="020B0702040204020203" pitchFamily="34" charset="0"/>
              </a:rPr>
              <a:t>Remote desktop</a:t>
            </a:r>
          </a:p>
        </p:txBody>
      </p:sp>
      <p:sp>
        <p:nvSpPr>
          <p:cNvPr id="84" name="Freeform 83"/>
          <p:cNvSpPr>
            <a:spLocks/>
          </p:cNvSpPr>
          <p:nvPr/>
        </p:nvSpPr>
        <p:spPr bwMode="auto">
          <a:xfrm>
            <a:off x="6811797" y="4208971"/>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85" name="Freeform 84"/>
          <p:cNvSpPr>
            <a:spLocks/>
          </p:cNvSpPr>
          <p:nvPr/>
        </p:nvSpPr>
        <p:spPr bwMode="auto">
          <a:xfrm>
            <a:off x="6774658" y="4714560"/>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17" name="TextBox 16"/>
          <p:cNvSpPr txBox="1"/>
          <p:nvPr/>
        </p:nvSpPr>
        <p:spPr>
          <a:xfrm>
            <a:off x="6710736" y="5126918"/>
            <a:ext cx="5062518" cy="121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spcBef>
                <a:spcPts val="588"/>
              </a:spcBef>
              <a:spcAft>
                <a:spcPts val="588"/>
              </a:spcAft>
              <a:defRPr/>
            </a:pPr>
            <a:endParaRPr lang="en-US" sz="1961" b="1" kern="0" dirty="0">
              <a:ea typeface="+mn-ea"/>
              <a:cs typeface="+mn-cs"/>
            </a:endParaRPr>
          </a:p>
        </p:txBody>
      </p:sp>
      <p:grpSp>
        <p:nvGrpSpPr>
          <p:cNvPr id="16" name="Group 15"/>
          <p:cNvGrpSpPr/>
          <p:nvPr/>
        </p:nvGrpSpPr>
        <p:grpSpPr>
          <a:xfrm>
            <a:off x="7146498" y="5594281"/>
            <a:ext cx="667602" cy="650137"/>
            <a:chOff x="306837" y="2966952"/>
            <a:chExt cx="1385600" cy="1352860"/>
          </a:xfrm>
        </p:grpSpPr>
        <p:sp>
          <p:nvSpPr>
            <p:cNvPr id="19" name="Freeform 18"/>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grpSp>
          <p:nvGrpSpPr>
            <p:cNvPr id="21" name="Group 20"/>
            <p:cNvGrpSpPr/>
            <p:nvPr/>
          </p:nvGrpSpPr>
          <p:grpSpPr>
            <a:xfrm>
              <a:off x="306837" y="2966952"/>
              <a:ext cx="1385600" cy="1351044"/>
              <a:chOff x="1058398" y="3354141"/>
              <a:chExt cx="533724" cy="520412"/>
            </a:xfrm>
          </p:grpSpPr>
          <p:sp>
            <p:nvSpPr>
              <p:cNvPr id="22" name="Freeform 2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sp>
            <p:nvSpPr>
              <p:cNvPr id="23" name="Freeform 2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grpSp>
      </p:grpSp>
      <p:pic>
        <p:nvPicPr>
          <p:cNvPr id="27"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04086" y="5528440"/>
            <a:ext cx="474056" cy="71286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2" name="TextBox 111"/>
          <p:cNvSpPr txBox="1"/>
          <p:nvPr/>
        </p:nvSpPr>
        <p:spPr>
          <a:xfrm>
            <a:off x="6923121"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Hive </a:t>
            </a:r>
          </a:p>
        </p:txBody>
      </p:sp>
      <p:sp>
        <p:nvSpPr>
          <p:cNvPr id="113" name="TextBox 112"/>
          <p:cNvSpPr txBox="1"/>
          <p:nvPr/>
        </p:nvSpPr>
        <p:spPr>
          <a:xfrm>
            <a:off x="8703017"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Pig</a:t>
            </a:r>
          </a:p>
        </p:txBody>
      </p:sp>
      <p:sp>
        <p:nvSpPr>
          <p:cNvPr id="114" name="TextBox 113"/>
          <p:cNvSpPr txBox="1"/>
          <p:nvPr/>
        </p:nvSpPr>
        <p:spPr>
          <a:xfrm>
            <a:off x="10482910"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M/R</a:t>
            </a:r>
          </a:p>
        </p:txBody>
      </p:sp>
      <p:cxnSp>
        <p:nvCxnSpPr>
          <p:cNvPr id="118" name="Straight Connector 117"/>
          <p:cNvCxnSpPr/>
          <p:nvPr/>
        </p:nvCxnSpPr>
        <p:spPr>
          <a:xfrm>
            <a:off x="8352049"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131944"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14316" y="5456934"/>
            <a:ext cx="883975" cy="883973"/>
          </a:xfrm>
          <a:prstGeom prst="rect">
            <a:avLst/>
          </a:prstGeom>
        </p:spPr>
      </p:pic>
      <p:grpSp>
        <p:nvGrpSpPr>
          <p:cNvPr id="306" name="Group 305"/>
          <p:cNvGrpSpPr/>
          <p:nvPr/>
        </p:nvGrpSpPr>
        <p:grpSpPr>
          <a:xfrm>
            <a:off x="4819624" y="1207411"/>
            <a:ext cx="2552754" cy="2378775"/>
            <a:chOff x="5049148" y="1354951"/>
            <a:chExt cx="2338179" cy="2178824"/>
          </a:xfrm>
        </p:grpSpPr>
        <p:grpSp>
          <p:nvGrpSpPr>
            <p:cNvPr id="175" name="Group 174"/>
            <p:cNvGrpSpPr/>
            <p:nvPr/>
          </p:nvGrpSpPr>
          <p:grpSpPr>
            <a:xfrm>
              <a:off x="5215530" y="1662970"/>
              <a:ext cx="1633683" cy="1554670"/>
              <a:chOff x="586740" y="-1055045"/>
              <a:chExt cx="8183880" cy="7788065"/>
            </a:xfrm>
          </p:grpSpPr>
          <p:grpSp>
            <p:nvGrpSpPr>
              <p:cNvPr id="230" name="Group 229"/>
              <p:cNvGrpSpPr/>
              <p:nvPr/>
            </p:nvGrpSpPr>
            <p:grpSpPr>
              <a:xfrm>
                <a:off x="5996940" y="752203"/>
                <a:ext cx="2773680" cy="2288603"/>
                <a:chOff x="4244340" y="3909060"/>
                <a:chExt cx="2773680" cy="2288603"/>
              </a:xfrm>
            </p:grpSpPr>
            <p:sp>
              <p:nvSpPr>
                <p:cNvPr id="296" name="Freeform 29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7" name="Freeform 29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8" name="Freeform 29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9" name="Freeform 29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1" name="Group 230"/>
              <p:cNvGrpSpPr/>
              <p:nvPr/>
            </p:nvGrpSpPr>
            <p:grpSpPr>
              <a:xfrm>
                <a:off x="4263390" y="-257447"/>
                <a:ext cx="2773680" cy="2288603"/>
                <a:chOff x="4244340" y="3909060"/>
                <a:chExt cx="2773680" cy="2288603"/>
              </a:xfrm>
            </p:grpSpPr>
            <p:sp>
              <p:nvSpPr>
                <p:cNvPr id="292" name="Freeform 29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3" name="Freeform 29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4" name="Freeform 29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5" name="Freeform 29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2" name="Group 231"/>
              <p:cNvGrpSpPr/>
              <p:nvPr/>
            </p:nvGrpSpPr>
            <p:grpSpPr>
              <a:xfrm>
                <a:off x="2415540" y="2036497"/>
                <a:ext cx="2773680" cy="2524823"/>
                <a:chOff x="4244340" y="3672840"/>
                <a:chExt cx="2773680" cy="2524823"/>
              </a:xfrm>
            </p:grpSpPr>
            <p:sp>
              <p:nvSpPr>
                <p:cNvPr id="288" name="Freeform 28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9" name="Freeform 28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0" name="Freeform 28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1" name="Freeform 29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3" name="Group 232"/>
              <p:cNvGrpSpPr/>
              <p:nvPr/>
            </p:nvGrpSpPr>
            <p:grpSpPr>
              <a:xfrm>
                <a:off x="4263390" y="3103297"/>
                <a:ext cx="2773680" cy="2524823"/>
                <a:chOff x="4244340" y="3672840"/>
                <a:chExt cx="2773680" cy="2524823"/>
              </a:xfrm>
            </p:grpSpPr>
            <p:sp>
              <p:nvSpPr>
                <p:cNvPr id="284" name="Freeform 28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5" name="Freeform 28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6" name="Freeform 28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7" name="Freeform 28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4" name="Group 233"/>
              <p:cNvGrpSpPr/>
              <p:nvPr/>
            </p:nvGrpSpPr>
            <p:grpSpPr>
              <a:xfrm>
                <a:off x="2415540" y="556040"/>
                <a:ext cx="2773680" cy="2524823"/>
                <a:chOff x="4244340" y="3672840"/>
                <a:chExt cx="2773680" cy="2524823"/>
              </a:xfrm>
            </p:grpSpPr>
            <p:sp>
              <p:nvSpPr>
                <p:cNvPr id="280" name="Freeform 27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1" name="Freeform 28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2" name="Freeform 28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3" name="Freeform 28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5" name="Group 234"/>
              <p:cNvGrpSpPr/>
              <p:nvPr/>
            </p:nvGrpSpPr>
            <p:grpSpPr>
              <a:xfrm>
                <a:off x="4263390" y="1622840"/>
                <a:ext cx="2773680" cy="2524823"/>
                <a:chOff x="4244340" y="3672840"/>
                <a:chExt cx="2773680" cy="2524823"/>
              </a:xfrm>
            </p:grpSpPr>
            <p:sp>
              <p:nvSpPr>
                <p:cNvPr id="276" name="Freeform 27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7" name="Freeform 27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8" name="Freeform 27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9" name="Freeform 27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6" name="Group 235"/>
              <p:cNvGrpSpPr/>
              <p:nvPr/>
            </p:nvGrpSpPr>
            <p:grpSpPr>
              <a:xfrm>
                <a:off x="2415540" y="-1055045"/>
                <a:ext cx="2773680" cy="2524823"/>
                <a:chOff x="4244340" y="3672840"/>
                <a:chExt cx="2773680" cy="2524823"/>
              </a:xfrm>
            </p:grpSpPr>
            <p:sp>
              <p:nvSpPr>
                <p:cNvPr id="272" name="Freeform 27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3" name="Freeform 27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4" name="Freeform 27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5" name="Freeform 27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7" name="Group 236"/>
              <p:cNvGrpSpPr/>
              <p:nvPr/>
            </p:nvGrpSpPr>
            <p:grpSpPr>
              <a:xfrm>
                <a:off x="4263390" y="11755"/>
                <a:ext cx="2773680" cy="2524823"/>
                <a:chOff x="4244340" y="3672840"/>
                <a:chExt cx="2773680" cy="2524823"/>
              </a:xfrm>
            </p:grpSpPr>
            <p:sp>
              <p:nvSpPr>
                <p:cNvPr id="268" name="Freeform 26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9" name="Freeform 26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0" name="Freeform 26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1" name="Freeform 27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8" name="Group 237"/>
              <p:cNvGrpSpPr/>
              <p:nvPr/>
            </p:nvGrpSpPr>
            <p:grpSpPr>
              <a:xfrm>
                <a:off x="586740" y="3141397"/>
                <a:ext cx="2773680" cy="2524823"/>
                <a:chOff x="4244340" y="3672840"/>
                <a:chExt cx="2773680" cy="2524823"/>
              </a:xfrm>
            </p:grpSpPr>
            <p:sp>
              <p:nvSpPr>
                <p:cNvPr id="264" name="Freeform 26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5" name="Freeform 26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6" name="Freeform 26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7" name="Freeform 26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9" name="Group 238"/>
              <p:cNvGrpSpPr/>
              <p:nvPr/>
            </p:nvGrpSpPr>
            <p:grpSpPr>
              <a:xfrm>
                <a:off x="2434590" y="4208197"/>
                <a:ext cx="2773680" cy="2524823"/>
                <a:chOff x="4244340" y="3672840"/>
                <a:chExt cx="2773680" cy="2524823"/>
              </a:xfrm>
            </p:grpSpPr>
            <p:sp>
              <p:nvSpPr>
                <p:cNvPr id="260" name="Freeform 25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1" name="Freeform 26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2" name="Freeform 26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3" name="Freeform 26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0" name="Group 239"/>
              <p:cNvGrpSpPr/>
              <p:nvPr/>
            </p:nvGrpSpPr>
            <p:grpSpPr>
              <a:xfrm>
                <a:off x="586740" y="1660940"/>
                <a:ext cx="2773680" cy="2524823"/>
                <a:chOff x="4244340" y="3672840"/>
                <a:chExt cx="2773680" cy="2524823"/>
              </a:xfrm>
            </p:grpSpPr>
            <p:sp>
              <p:nvSpPr>
                <p:cNvPr id="256" name="Freeform 25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7" name="Freeform 25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8" name="Freeform 25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9" name="Freeform 25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1" name="Group 240"/>
              <p:cNvGrpSpPr/>
              <p:nvPr/>
            </p:nvGrpSpPr>
            <p:grpSpPr>
              <a:xfrm>
                <a:off x="2434590" y="2727740"/>
                <a:ext cx="2773680" cy="2524823"/>
                <a:chOff x="4244340" y="3672840"/>
                <a:chExt cx="2773680" cy="2524823"/>
              </a:xfrm>
            </p:grpSpPr>
            <p:sp>
              <p:nvSpPr>
                <p:cNvPr id="252" name="Freeform 25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3" name="Freeform 25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4" name="Freeform 25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5" name="Freeform 25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2" name="Group 241"/>
              <p:cNvGrpSpPr/>
              <p:nvPr/>
            </p:nvGrpSpPr>
            <p:grpSpPr>
              <a:xfrm>
                <a:off x="586740" y="49855"/>
                <a:ext cx="2773680" cy="2524823"/>
                <a:chOff x="4244340" y="3672840"/>
                <a:chExt cx="2773680" cy="2524823"/>
              </a:xfrm>
            </p:grpSpPr>
            <p:sp>
              <p:nvSpPr>
                <p:cNvPr id="248" name="Freeform 24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9" name="Freeform 24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0" name="Freeform 24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1" name="Freeform 25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3" name="Group 242"/>
              <p:cNvGrpSpPr/>
              <p:nvPr/>
            </p:nvGrpSpPr>
            <p:grpSpPr>
              <a:xfrm>
                <a:off x="2434590" y="1116655"/>
                <a:ext cx="2773680" cy="2524823"/>
                <a:chOff x="4244340" y="3672840"/>
                <a:chExt cx="2773680" cy="2524823"/>
              </a:xfrm>
            </p:grpSpPr>
            <p:sp>
              <p:nvSpPr>
                <p:cNvPr id="244" name="Freeform 24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5" name="Freeform 24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6" name="Freeform 24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7" name="Freeform 24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6" name="Group 175"/>
            <p:cNvGrpSpPr/>
            <p:nvPr/>
          </p:nvGrpSpPr>
          <p:grpSpPr>
            <a:xfrm>
              <a:off x="5049148" y="1567835"/>
              <a:ext cx="1616009" cy="1751534"/>
              <a:chOff x="-246743" y="-1531620"/>
              <a:chExt cx="8095343" cy="8774249"/>
            </a:xfrm>
          </p:grpSpPr>
          <p:sp>
            <p:nvSpPr>
              <p:cNvPr id="224" name="Freeform 223"/>
              <p:cNvSpPr/>
              <p:nvPr/>
            </p:nvSpPr>
            <p:spPr bwMode="auto">
              <a:xfrm>
                <a:off x="-246743" y="783771"/>
                <a:ext cx="4049486" cy="6458858"/>
              </a:xfrm>
              <a:custGeom>
                <a:avLst/>
                <a:gdLst>
                  <a:gd name="connsiteX0" fmla="*/ 0 w 4049486"/>
                  <a:gd name="connsiteY0" fmla="*/ 4136572 h 6458858"/>
                  <a:gd name="connsiteX1" fmla="*/ 4049486 w 4049486"/>
                  <a:gd name="connsiteY1" fmla="*/ 6458858 h 6458858"/>
                  <a:gd name="connsiteX2" fmla="*/ 4049486 w 4049486"/>
                  <a:gd name="connsiteY2" fmla="*/ 2830286 h 6458858"/>
                  <a:gd name="connsiteX3" fmla="*/ 3178629 w 4049486"/>
                  <a:gd name="connsiteY3" fmla="*/ 1306286 h 6458858"/>
                  <a:gd name="connsiteX4" fmla="*/ 914400 w 4049486"/>
                  <a:gd name="connsiteY4" fmla="*/ 0 h 6458858"/>
                  <a:gd name="connsiteX5" fmla="*/ 14514 w 4049486"/>
                  <a:gd name="connsiteY5" fmla="*/ 464458 h 6458858"/>
                  <a:gd name="connsiteX6" fmla="*/ 0 w 4049486"/>
                  <a:gd name="connsiteY6" fmla="*/ 4136572 h 64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486" h="6458858">
                    <a:moveTo>
                      <a:pt x="0" y="4136572"/>
                    </a:moveTo>
                    <a:lnTo>
                      <a:pt x="4049486" y="6458858"/>
                    </a:lnTo>
                    <a:lnTo>
                      <a:pt x="4049486" y="2830286"/>
                    </a:lnTo>
                    <a:lnTo>
                      <a:pt x="3178629" y="1306286"/>
                    </a:lnTo>
                    <a:lnTo>
                      <a:pt x="914400" y="0"/>
                    </a:lnTo>
                    <a:lnTo>
                      <a:pt x="14514" y="464458"/>
                    </a:lnTo>
                    <a:lnTo>
                      <a:pt x="0" y="4136572"/>
                    </a:lnTo>
                    <a:close/>
                  </a:path>
                </a:pathLst>
              </a:custGeom>
              <a:solidFill>
                <a:schemeClr val="accent1">
                  <a:lumMod val="60000"/>
                  <a:lumOff val="40000"/>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5" name="Freeform 224"/>
              <p:cNvSpPr/>
              <p:nvPr/>
            </p:nvSpPr>
            <p:spPr bwMode="auto">
              <a:xfrm>
                <a:off x="2926080" y="2080260"/>
                <a:ext cx="1790700" cy="1550670"/>
              </a:xfrm>
              <a:custGeom>
                <a:avLst/>
                <a:gdLst>
                  <a:gd name="connsiteX0" fmla="*/ 0 w 1790700"/>
                  <a:gd name="connsiteY0" fmla="*/ 0 h 1531620"/>
                  <a:gd name="connsiteX1" fmla="*/ 1790700 w 1790700"/>
                  <a:gd name="connsiteY1" fmla="*/ 0 h 1531620"/>
                  <a:gd name="connsiteX2" fmla="*/ 883920 w 1790700"/>
                  <a:gd name="connsiteY2" fmla="*/ 1531620 h 1531620"/>
                  <a:gd name="connsiteX3" fmla="*/ 0 w 1790700"/>
                  <a:gd name="connsiteY3" fmla="*/ 0 h 1531620"/>
                  <a:gd name="connsiteX0" fmla="*/ 0 w 1790700"/>
                  <a:gd name="connsiteY0" fmla="*/ 0 h 1550670"/>
                  <a:gd name="connsiteX1" fmla="*/ 1790700 w 1790700"/>
                  <a:gd name="connsiteY1" fmla="*/ 0 h 1550670"/>
                  <a:gd name="connsiteX2" fmla="*/ 883920 w 1790700"/>
                  <a:gd name="connsiteY2" fmla="*/ 1550670 h 1550670"/>
                  <a:gd name="connsiteX3" fmla="*/ 0 w 1790700"/>
                  <a:gd name="connsiteY3" fmla="*/ 0 h 1550670"/>
                </a:gdLst>
                <a:ahLst/>
                <a:cxnLst>
                  <a:cxn ang="0">
                    <a:pos x="connsiteX0" y="connsiteY0"/>
                  </a:cxn>
                  <a:cxn ang="0">
                    <a:pos x="connsiteX1" y="connsiteY1"/>
                  </a:cxn>
                  <a:cxn ang="0">
                    <a:pos x="connsiteX2" y="connsiteY2"/>
                  </a:cxn>
                  <a:cxn ang="0">
                    <a:pos x="connsiteX3" y="connsiteY3"/>
                  </a:cxn>
                </a:cxnLst>
                <a:rect l="l" t="t" r="r" b="b"/>
                <a:pathLst>
                  <a:path w="1790700" h="1550670">
                    <a:moveTo>
                      <a:pt x="0" y="0"/>
                    </a:moveTo>
                    <a:lnTo>
                      <a:pt x="1790700" y="0"/>
                    </a:lnTo>
                    <a:lnTo>
                      <a:pt x="883920" y="1550670"/>
                    </a:lnTo>
                    <a:lnTo>
                      <a:pt x="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6" name="Freeform 225"/>
              <p:cNvSpPr/>
              <p:nvPr/>
            </p:nvSpPr>
            <p:spPr bwMode="auto">
              <a:xfrm>
                <a:off x="-228600" y="-254000"/>
                <a:ext cx="933450" cy="1498600"/>
              </a:xfrm>
              <a:custGeom>
                <a:avLst/>
                <a:gdLst>
                  <a:gd name="connsiteX0" fmla="*/ 895350 w 933450"/>
                  <a:gd name="connsiteY0" fmla="*/ 1028700 h 1498600"/>
                  <a:gd name="connsiteX1" fmla="*/ 0 w 933450"/>
                  <a:gd name="connsiteY1" fmla="*/ 1498600 h 1498600"/>
                  <a:gd name="connsiteX2" fmla="*/ 933450 w 933450"/>
                  <a:gd name="connsiteY2" fmla="*/ 0 h 1498600"/>
                  <a:gd name="connsiteX3" fmla="*/ 895350 w 933450"/>
                  <a:gd name="connsiteY3" fmla="*/ 1028700 h 1498600"/>
                  <a:gd name="connsiteX0" fmla="*/ 895350 w 933450"/>
                  <a:gd name="connsiteY0" fmla="*/ 1035050 h 1498600"/>
                  <a:gd name="connsiteX1" fmla="*/ 0 w 933450"/>
                  <a:gd name="connsiteY1" fmla="*/ 1498600 h 1498600"/>
                  <a:gd name="connsiteX2" fmla="*/ 933450 w 933450"/>
                  <a:gd name="connsiteY2" fmla="*/ 0 h 1498600"/>
                  <a:gd name="connsiteX3" fmla="*/ 895350 w 933450"/>
                  <a:gd name="connsiteY3" fmla="*/ 1035050 h 1498600"/>
                </a:gdLst>
                <a:ahLst/>
                <a:cxnLst>
                  <a:cxn ang="0">
                    <a:pos x="connsiteX0" y="connsiteY0"/>
                  </a:cxn>
                  <a:cxn ang="0">
                    <a:pos x="connsiteX1" y="connsiteY1"/>
                  </a:cxn>
                  <a:cxn ang="0">
                    <a:pos x="connsiteX2" y="connsiteY2"/>
                  </a:cxn>
                  <a:cxn ang="0">
                    <a:pos x="connsiteX3" y="connsiteY3"/>
                  </a:cxn>
                </a:cxnLst>
                <a:rect l="l" t="t" r="r" b="b"/>
                <a:pathLst>
                  <a:path w="933450" h="1498600">
                    <a:moveTo>
                      <a:pt x="895350" y="1035050"/>
                    </a:moveTo>
                    <a:lnTo>
                      <a:pt x="0" y="1498600"/>
                    </a:lnTo>
                    <a:lnTo>
                      <a:pt x="933450" y="0"/>
                    </a:lnTo>
                    <a:lnTo>
                      <a:pt x="895350" y="103505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7" name="Freeform 226"/>
              <p:cNvSpPr/>
              <p:nvPr/>
            </p:nvSpPr>
            <p:spPr bwMode="auto">
              <a:xfrm>
                <a:off x="655320" y="-1531620"/>
                <a:ext cx="6324600" cy="3619500"/>
              </a:xfrm>
              <a:custGeom>
                <a:avLst/>
                <a:gdLst>
                  <a:gd name="connsiteX0" fmla="*/ 45720 w 6324600"/>
                  <a:gd name="connsiteY0" fmla="*/ 1287780 h 3619500"/>
                  <a:gd name="connsiteX1" fmla="*/ 2278380 w 6324600"/>
                  <a:gd name="connsiteY1" fmla="*/ 0 h 3619500"/>
                  <a:gd name="connsiteX2" fmla="*/ 4084320 w 6324600"/>
                  <a:gd name="connsiteY2" fmla="*/ 0 h 3619500"/>
                  <a:gd name="connsiteX3" fmla="*/ 6324600 w 6324600"/>
                  <a:gd name="connsiteY3" fmla="*/ 1310640 h 3619500"/>
                  <a:gd name="connsiteX4" fmla="*/ 6324600 w 6324600"/>
                  <a:gd name="connsiteY4" fmla="*/ 2301240 h 3619500"/>
                  <a:gd name="connsiteX5" fmla="*/ 4069080 w 6324600"/>
                  <a:gd name="connsiteY5" fmla="*/ 3619500 h 3619500"/>
                  <a:gd name="connsiteX6" fmla="*/ 2263140 w 6324600"/>
                  <a:gd name="connsiteY6" fmla="*/ 3611880 h 3619500"/>
                  <a:gd name="connsiteX7" fmla="*/ 0 w 6324600"/>
                  <a:gd name="connsiteY7" fmla="*/ 2316480 h 3619500"/>
                  <a:gd name="connsiteX8" fmla="*/ 45720 w 6324600"/>
                  <a:gd name="connsiteY8" fmla="*/ 128778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4600" h="3619500">
                    <a:moveTo>
                      <a:pt x="45720" y="1287780"/>
                    </a:moveTo>
                    <a:lnTo>
                      <a:pt x="2278380" y="0"/>
                    </a:lnTo>
                    <a:lnTo>
                      <a:pt x="4084320" y="0"/>
                    </a:lnTo>
                    <a:lnTo>
                      <a:pt x="6324600" y="1310640"/>
                    </a:lnTo>
                    <a:lnTo>
                      <a:pt x="6324600" y="2301240"/>
                    </a:lnTo>
                    <a:lnTo>
                      <a:pt x="4069080" y="3619500"/>
                    </a:lnTo>
                    <a:lnTo>
                      <a:pt x="2263140" y="3611880"/>
                    </a:lnTo>
                    <a:lnTo>
                      <a:pt x="0" y="2316480"/>
                    </a:lnTo>
                    <a:lnTo>
                      <a:pt x="45720" y="128778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8" name="Freeform 227"/>
              <p:cNvSpPr/>
              <p:nvPr/>
            </p:nvSpPr>
            <p:spPr bwMode="auto">
              <a:xfrm>
                <a:off x="3800475" y="781050"/>
                <a:ext cx="4048125" cy="6448425"/>
              </a:xfrm>
              <a:custGeom>
                <a:avLst/>
                <a:gdLst>
                  <a:gd name="connsiteX0" fmla="*/ 0 w 4048125"/>
                  <a:gd name="connsiteY0" fmla="*/ 6448425 h 6448425"/>
                  <a:gd name="connsiteX1" fmla="*/ 0 w 4048125"/>
                  <a:gd name="connsiteY1" fmla="*/ 2838450 h 6448425"/>
                  <a:gd name="connsiteX2" fmla="*/ 914400 w 4048125"/>
                  <a:gd name="connsiteY2" fmla="*/ 1285875 h 6448425"/>
                  <a:gd name="connsiteX3" fmla="*/ 3152775 w 4048125"/>
                  <a:gd name="connsiteY3" fmla="*/ 0 h 6448425"/>
                  <a:gd name="connsiteX4" fmla="*/ 4048125 w 4048125"/>
                  <a:gd name="connsiteY4" fmla="*/ 504825 h 6448425"/>
                  <a:gd name="connsiteX5" fmla="*/ 4048125 w 4048125"/>
                  <a:gd name="connsiteY5" fmla="*/ 4114800 h 6448425"/>
                  <a:gd name="connsiteX6" fmla="*/ 0 w 4048125"/>
                  <a:gd name="connsiteY6" fmla="*/ 6448425 h 64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8125" h="6448425">
                    <a:moveTo>
                      <a:pt x="0" y="6448425"/>
                    </a:moveTo>
                    <a:lnTo>
                      <a:pt x="0" y="2838450"/>
                    </a:lnTo>
                    <a:lnTo>
                      <a:pt x="914400" y="1285875"/>
                    </a:lnTo>
                    <a:lnTo>
                      <a:pt x="3152775" y="0"/>
                    </a:lnTo>
                    <a:lnTo>
                      <a:pt x="4048125" y="504825"/>
                    </a:lnTo>
                    <a:lnTo>
                      <a:pt x="4048125" y="4114800"/>
                    </a:lnTo>
                    <a:lnTo>
                      <a:pt x="0" y="6448425"/>
                    </a:lnTo>
                    <a:close/>
                  </a:path>
                </a:pathLst>
              </a:custGeom>
              <a:solidFill>
                <a:schemeClr val="accent1">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9" name="Freeform 228"/>
              <p:cNvSpPr/>
              <p:nvPr/>
            </p:nvSpPr>
            <p:spPr bwMode="auto">
              <a:xfrm>
                <a:off x="6962775" y="-228600"/>
                <a:ext cx="876300" cy="1514475"/>
              </a:xfrm>
              <a:custGeom>
                <a:avLst/>
                <a:gdLst>
                  <a:gd name="connsiteX0" fmla="*/ 19050 w 876300"/>
                  <a:gd name="connsiteY0" fmla="*/ 0 h 1504950"/>
                  <a:gd name="connsiteX1" fmla="*/ 876300 w 876300"/>
                  <a:gd name="connsiteY1" fmla="*/ 1504950 h 1504950"/>
                  <a:gd name="connsiteX2" fmla="*/ 0 w 876300"/>
                  <a:gd name="connsiteY2" fmla="*/ 1028700 h 1504950"/>
                  <a:gd name="connsiteX3" fmla="*/ 19050 w 876300"/>
                  <a:gd name="connsiteY3" fmla="*/ 0 h 1504950"/>
                  <a:gd name="connsiteX0" fmla="*/ 19050 w 876300"/>
                  <a:gd name="connsiteY0" fmla="*/ 0 h 1514475"/>
                  <a:gd name="connsiteX1" fmla="*/ 876300 w 876300"/>
                  <a:gd name="connsiteY1" fmla="*/ 1514475 h 1514475"/>
                  <a:gd name="connsiteX2" fmla="*/ 0 w 876300"/>
                  <a:gd name="connsiteY2" fmla="*/ 1028700 h 1514475"/>
                  <a:gd name="connsiteX3" fmla="*/ 19050 w 876300"/>
                  <a:gd name="connsiteY3" fmla="*/ 0 h 1514475"/>
                </a:gdLst>
                <a:ahLst/>
                <a:cxnLst>
                  <a:cxn ang="0">
                    <a:pos x="connsiteX0" y="connsiteY0"/>
                  </a:cxn>
                  <a:cxn ang="0">
                    <a:pos x="connsiteX1" y="connsiteY1"/>
                  </a:cxn>
                  <a:cxn ang="0">
                    <a:pos x="connsiteX2" y="connsiteY2"/>
                  </a:cxn>
                  <a:cxn ang="0">
                    <a:pos x="connsiteX3" y="connsiteY3"/>
                  </a:cxn>
                </a:cxnLst>
                <a:rect l="l" t="t" r="r" b="b"/>
                <a:pathLst>
                  <a:path w="876300" h="1514475">
                    <a:moveTo>
                      <a:pt x="19050" y="0"/>
                    </a:moveTo>
                    <a:lnTo>
                      <a:pt x="876300" y="1514475"/>
                    </a:lnTo>
                    <a:lnTo>
                      <a:pt x="0" y="1028700"/>
                    </a:lnTo>
                    <a:lnTo>
                      <a:pt x="1905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77" name="Group 176"/>
            <p:cNvGrpSpPr/>
            <p:nvPr/>
          </p:nvGrpSpPr>
          <p:grpSpPr>
            <a:xfrm>
              <a:off x="5945668" y="2248102"/>
              <a:ext cx="1261009" cy="1189710"/>
              <a:chOff x="4244340" y="1876153"/>
              <a:chExt cx="6316980" cy="5959810"/>
            </a:xfrm>
          </p:grpSpPr>
          <p:grpSp>
            <p:nvGrpSpPr>
              <p:cNvPr id="194" name="Group 193"/>
              <p:cNvGrpSpPr/>
              <p:nvPr/>
            </p:nvGrpSpPr>
            <p:grpSpPr>
              <a:xfrm>
                <a:off x="7787640" y="3356610"/>
                <a:ext cx="2773680" cy="2288603"/>
                <a:chOff x="4244340" y="3909060"/>
                <a:chExt cx="2773680" cy="2288603"/>
              </a:xfrm>
            </p:grpSpPr>
            <p:sp>
              <p:nvSpPr>
                <p:cNvPr id="220" name="Freeform 21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1" name="Freeform 22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2" name="Freeform 22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3" name="Freeform 22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5" name="Group 194"/>
              <p:cNvGrpSpPr/>
              <p:nvPr/>
            </p:nvGrpSpPr>
            <p:grpSpPr>
              <a:xfrm>
                <a:off x="7787640" y="1876153"/>
                <a:ext cx="2773680" cy="2288603"/>
                <a:chOff x="4244340" y="3909060"/>
                <a:chExt cx="2773680" cy="2288603"/>
              </a:xfrm>
            </p:grpSpPr>
            <p:sp>
              <p:nvSpPr>
                <p:cNvPr id="216" name="Freeform 21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7" name="Freeform 21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8" name="Freeform 217"/>
                <p:cNvSpPr/>
                <p:nvPr/>
              </p:nvSpPr>
              <p:spPr bwMode="auto">
                <a:xfrm flipH="1">
                  <a:off x="5631182" y="4399799"/>
                  <a:ext cx="1385889" cy="1797864"/>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9" name="Freeform 21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6" name="Group 195"/>
              <p:cNvGrpSpPr/>
              <p:nvPr/>
            </p:nvGrpSpPr>
            <p:grpSpPr>
              <a:xfrm>
                <a:off x="5996940" y="4423410"/>
                <a:ext cx="2773680" cy="2288603"/>
                <a:chOff x="4244340" y="3909060"/>
                <a:chExt cx="2773680" cy="2288603"/>
              </a:xfrm>
            </p:grpSpPr>
            <p:sp>
              <p:nvSpPr>
                <p:cNvPr id="212" name="Freeform 21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3" name="Freeform 21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4" name="Freeform 21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5" name="Freeform 21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7" name="Group 196"/>
              <p:cNvGrpSpPr/>
              <p:nvPr/>
            </p:nvGrpSpPr>
            <p:grpSpPr>
              <a:xfrm>
                <a:off x="5996940" y="2942953"/>
                <a:ext cx="2773680" cy="2288603"/>
                <a:chOff x="4244340" y="3909060"/>
                <a:chExt cx="2773680" cy="2288603"/>
              </a:xfrm>
            </p:grpSpPr>
            <p:sp>
              <p:nvSpPr>
                <p:cNvPr id="208" name="Freeform 207"/>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9" name="Freeform 20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0" name="Freeform 20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1" name="Freeform 21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8" name="Group 197"/>
              <p:cNvGrpSpPr/>
              <p:nvPr/>
            </p:nvGrpSpPr>
            <p:grpSpPr>
              <a:xfrm>
                <a:off x="4244340" y="5547360"/>
                <a:ext cx="2773680" cy="2288603"/>
                <a:chOff x="4244340" y="3909060"/>
                <a:chExt cx="2773680" cy="2288603"/>
              </a:xfrm>
            </p:grpSpPr>
            <p:sp>
              <p:nvSpPr>
                <p:cNvPr id="204" name="Freeform 203"/>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5" name="Freeform 20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6" name="Freeform 20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7" name="Freeform 20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9" name="Group 198"/>
              <p:cNvGrpSpPr/>
              <p:nvPr/>
            </p:nvGrpSpPr>
            <p:grpSpPr>
              <a:xfrm>
                <a:off x="4244340" y="4066903"/>
                <a:ext cx="2773680" cy="2288603"/>
                <a:chOff x="4244340" y="3909060"/>
                <a:chExt cx="2773680" cy="2288603"/>
              </a:xfrm>
            </p:grpSpPr>
            <p:sp>
              <p:nvSpPr>
                <p:cNvPr id="200" name="Freeform 19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1" name="Freeform 20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2" name="Freeform 20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3" name="Freeform 20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8" name="lines"/>
            <p:cNvGrpSpPr/>
            <p:nvPr/>
          </p:nvGrpSpPr>
          <p:grpSpPr>
            <a:xfrm>
              <a:off x="5680775" y="1354951"/>
              <a:ext cx="1706552" cy="2178824"/>
              <a:chOff x="2917371" y="-2598057"/>
              <a:chExt cx="8548915" cy="10914743"/>
            </a:xfrm>
          </p:grpSpPr>
          <p:sp>
            <p:nvSpPr>
              <p:cNvPr id="186" name="Freeform 185"/>
              <p:cNvSpPr/>
              <p:nvPr/>
            </p:nvSpPr>
            <p:spPr bwMode="auto">
              <a:xfrm>
                <a:off x="2917371" y="-2583543"/>
                <a:ext cx="2685143" cy="1567543"/>
              </a:xfrm>
              <a:custGeom>
                <a:avLst/>
                <a:gdLst>
                  <a:gd name="connsiteX0" fmla="*/ 0 w 2685143"/>
                  <a:gd name="connsiteY0" fmla="*/ 1016000 h 1567543"/>
                  <a:gd name="connsiteX1" fmla="*/ 1814286 w 2685143"/>
                  <a:gd name="connsiteY1" fmla="*/ 0 h 1567543"/>
                  <a:gd name="connsiteX2" fmla="*/ 2685143 w 2685143"/>
                  <a:gd name="connsiteY2" fmla="*/ 522514 h 1567543"/>
                  <a:gd name="connsiteX3" fmla="*/ 2685143 w 2685143"/>
                  <a:gd name="connsiteY3" fmla="*/ 1567543 h 1567543"/>
                </a:gdLst>
                <a:ahLst/>
                <a:cxnLst>
                  <a:cxn ang="0">
                    <a:pos x="connsiteX0" y="connsiteY0"/>
                  </a:cxn>
                  <a:cxn ang="0">
                    <a:pos x="connsiteX1" y="connsiteY1"/>
                  </a:cxn>
                  <a:cxn ang="0">
                    <a:pos x="connsiteX2" y="connsiteY2"/>
                  </a:cxn>
                  <a:cxn ang="0">
                    <a:pos x="connsiteX3" y="connsiteY3"/>
                  </a:cxn>
                </a:cxnLst>
                <a:rect l="l" t="t" r="r" b="b"/>
                <a:pathLst>
                  <a:path w="2685143" h="1567543">
                    <a:moveTo>
                      <a:pt x="0" y="1016000"/>
                    </a:moveTo>
                    <a:lnTo>
                      <a:pt x="1814286" y="0"/>
                    </a:lnTo>
                    <a:lnTo>
                      <a:pt x="2685143" y="522514"/>
                    </a:lnTo>
                    <a:lnTo>
                      <a:pt x="2685143" y="1567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7" name="Freeform 186"/>
              <p:cNvSpPr/>
              <p:nvPr/>
            </p:nvSpPr>
            <p:spPr bwMode="auto">
              <a:xfrm>
                <a:off x="4746171" y="-2598057"/>
                <a:ext cx="1741715" cy="537028"/>
              </a:xfrm>
              <a:custGeom>
                <a:avLst/>
                <a:gdLst>
                  <a:gd name="connsiteX0" fmla="*/ 0 w 1741715"/>
                  <a:gd name="connsiteY0" fmla="*/ 0 h 537028"/>
                  <a:gd name="connsiteX1" fmla="*/ 1741715 w 1741715"/>
                  <a:gd name="connsiteY1" fmla="*/ 0 h 537028"/>
                  <a:gd name="connsiteX2" fmla="*/ 870858 w 1741715"/>
                  <a:gd name="connsiteY2" fmla="*/ 537028 h 537028"/>
                </a:gdLst>
                <a:ahLst/>
                <a:cxnLst>
                  <a:cxn ang="0">
                    <a:pos x="connsiteX0" y="connsiteY0"/>
                  </a:cxn>
                  <a:cxn ang="0">
                    <a:pos x="connsiteX1" y="connsiteY1"/>
                  </a:cxn>
                  <a:cxn ang="0">
                    <a:pos x="connsiteX2" y="connsiteY2"/>
                  </a:cxn>
                </a:cxnLst>
                <a:rect l="l" t="t" r="r" b="b"/>
                <a:pathLst>
                  <a:path w="1741715" h="537028">
                    <a:moveTo>
                      <a:pt x="0" y="0"/>
                    </a:moveTo>
                    <a:lnTo>
                      <a:pt x="1741715" y="0"/>
                    </a:lnTo>
                    <a:lnTo>
                      <a:pt x="870858" y="537028"/>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8" name="Freeform 187"/>
              <p:cNvSpPr/>
              <p:nvPr/>
            </p:nvSpPr>
            <p:spPr bwMode="auto">
              <a:xfrm>
                <a:off x="3846286" y="-2569029"/>
                <a:ext cx="6720114" cy="5733143"/>
              </a:xfrm>
              <a:custGeom>
                <a:avLst/>
                <a:gdLst>
                  <a:gd name="connsiteX0" fmla="*/ 2641600 w 6720114"/>
                  <a:gd name="connsiteY0" fmla="*/ 0 h 5733143"/>
                  <a:gd name="connsiteX1" fmla="*/ 6720114 w 6720114"/>
                  <a:gd name="connsiteY1" fmla="*/ 2307772 h 5733143"/>
                  <a:gd name="connsiteX2" fmla="*/ 6676571 w 6720114"/>
                  <a:gd name="connsiteY2" fmla="*/ 3367315 h 5733143"/>
                  <a:gd name="connsiteX3" fmla="*/ 2554514 w 6720114"/>
                  <a:gd name="connsiteY3" fmla="*/ 5733143 h 5733143"/>
                  <a:gd name="connsiteX4" fmla="*/ 885371 w 6720114"/>
                  <a:gd name="connsiteY4" fmla="*/ 5689600 h 5733143"/>
                  <a:gd name="connsiteX5" fmla="*/ 0 w 6720114"/>
                  <a:gd name="connsiteY5" fmla="*/ 5210629 h 573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0114" h="5733143">
                    <a:moveTo>
                      <a:pt x="2641600" y="0"/>
                    </a:moveTo>
                    <a:lnTo>
                      <a:pt x="6720114" y="2307772"/>
                    </a:lnTo>
                    <a:lnTo>
                      <a:pt x="6676571" y="3367315"/>
                    </a:lnTo>
                    <a:lnTo>
                      <a:pt x="2554514" y="5733143"/>
                    </a:lnTo>
                    <a:lnTo>
                      <a:pt x="885371" y="5689600"/>
                    </a:lnTo>
                    <a:lnTo>
                      <a:pt x="0" y="5210629"/>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9" name="Freeform 188"/>
              <p:cNvSpPr/>
              <p:nvPr/>
            </p:nvSpPr>
            <p:spPr bwMode="auto">
              <a:xfrm>
                <a:off x="10551886" y="-232229"/>
                <a:ext cx="899885" cy="5152572"/>
              </a:xfrm>
              <a:custGeom>
                <a:avLst/>
                <a:gdLst>
                  <a:gd name="connsiteX0" fmla="*/ 0 w 899885"/>
                  <a:gd name="connsiteY0" fmla="*/ 0 h 5152572"/>
                  <a:gd name="connsiteX1" fmla="*/ 899885 w 899885"/>
                  <a:gd name="connsiteY1" fmla="*/ 1524000 h 5152572"/>
                  <a:gd name="connsiteX2" fmla="*/ 899885 w 899885"/>
                  <a:gd name="connsiteY2" fmla="*/ 5152572 h 5152572"/>
                  <a:gd name="connsiteX3" fmla="*/ 0 w 899885"/>
                  <a:gd name="connsiteY3" fmla="*/ 4673600 h 5152572"/>
                </a:gdLst>
                <a:ahLst/>
                <a:cxnLst>
                  <a:cxn ang="0">
                    <a:pos x="connsiteX0" y="connsiteY0"/>
                  </a:cxn>
                  <a:cxn ang="0">
                    <a:pos x="connsiteX1" y="connsiteY1"/>
                  </a:cxn>
                  <a:cxn ang="0">
                    <a:pos x="connsiteX2" y="connsiteY2"/>
                  </a:cxn>
                  <a:cxn ang="0">
                    <a:pos x="connsiteX3" y="connsiteY3"/>
                  </a:cxn>
                </a:cxnLst>
                <a:rect l="l" t="t" r="r" b="b"/>
                <a:pathLst>
                  <a:path w="899885" h="5152572">
                    <a:moveTo>
                      <a:pt x="0" y="0"/>
                    </a:moveTo>
                    <a:lnTo>
                      <a:pt x="899885" y="1524000"/>
                    </a:lnTo>
                    <a:lnTo>
                      <a:pt x="899885" y="5152572"/>
                    </a:lnTo>
                    <a:lnTo>
                      <a:pt x="0" y="467360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0" name="Freeform 189"/>
              <p:cNvSpPr/>
              <p:nvPr/>
            </p:nvSpPr>
            <p:spPr bwMode="auto">
              <a:xfrm>
                <a:off x="10522857" y="783771"/>
                <a:ext cx="943429" cy="493486"/>
              </a:xfrm>
              <a:custGeom>
                <a:avLst/>
                <a:gdLst>
                  <a:gd name="connsiteX0" fmla="*/ 0 w 943429"/>
                  <a:gd name="connsiteY0" fmla="*/ 0 h 493486"/>
                  <a:gd name="connsiteX1" fmla="*/ 943429 w 943429"/>
                  <a:gd name="connsiteY1" fmla="*/ 493486 h 493486"/>
                </a:gdLst>
                <a:ahLst/>
                <a:cxnLst>
                  <a:cxn ang="0">
                    <a:pos x="connsiteX0" y="connsiteY0"/>
                  </a:cxn>
                  <a:cxn ang="0">
                    <a:pos x="connsiteX1" y="connsiteY1"/>
                  </a:cxn>
                </a:cxnLst>
                <a:rect l="l" t="t" r="r" b="b"/>
                <a:pathLst>
                  <a:path w="943429" h="493486">
                    <a:moveTo>
                      <a:pt x="0" y="0"/>
                    </a:moveTo>
                    <a:lnTo>
                      <a:pt x="943429" y="493486"/>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1" name="Freeform 190"/>
              <p:cNvSpPr/>
              <p:nvPr/>
            </p:nvSpPr>
            <p:spPr bwMode="auto">
              <a:xfrm>
                <a:off x="4702629" y="3120571"/>
                <a:ext cx="1756228" cy="1538515"/>
              </a:xfrm>
              <a:custGeom>
                <a:avLst/>
                <a:gdLst>
                  <a:gd name="connsiteX0" fmla="*/ 0 w 1756228"/>
                  <a:gd name="connsiteY0" fmla="*/ 0 h 1538515"/>
                  <a:gd name="connsiteX1" fmla="*/ 943428 w 1756228"/>
                  <a:gd name="connsiteY1" fmla="*/ 1538515 h 1538515"/>
                  <a:gd name="connsiteX2" fmla="*/ 1756228 w 1756228"/>
                  <a:gd name="connsiteY2" fmla="*/ 43543 h 1538515"/>
                </a:gdLst>
                <a:ahLst/>
                <a:cxnLst>
                  <a:cxn ang="0">
                    <a:pos x="connsiteX0" y="connsiteY0"/>
                  </a:cxn>
                  <a:cxn ang="0">
                    <a:pos x="connsiteX1" y="connsiteY1"/>
                  </a:cxn>
                  <a:cxn ang="0">
                    <a:pos x="connsiteX2" y="connsiteY2"/>
                  </a:cxn>
                </a:cxnLst>
                <a:rect l="l" t="t" r="r" b="b"/>
                <a:pathLst>
                  <a:path w="1756228" h="1538515">
                    <a:moveTo>
                      <a:pt x="0" y="0"/>
                    </a:moveTo>
                    <a:lnTo>
                      <a:pt x="943428" y="1538515"/>
                    </a:lnTo>
                    <a:lnTo>
                      <a:pt x="1756228" y="43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2" name="Freeform 191"/>
              <p:cNvSpPr/>
              <p:nvPr/>
            </p:nvSpPr>
            <p:spPr bwMode="auto">
              <a:xfrm>
                <a:off x="3802743" y="4644571"/>
                <a:ext cx="1828800" cy="3657600"/>
              </a:xfrm>
              <a:custGeom>
                <a:avLst/>
                <a:gdLst>
                  <a:gd name="connsiteX0" fmla="*/ 1828800 w 1828800"/>
                  <a:gd name="connsiteY0" fmla="*/ 0 h 3657600"/>
                  <a:gd name="connsiteX1" fmla="*/ 1828800 w 1828800"/>
                  <a:gd name="connsiteY1" fmla="*/ 3657600 h 3657600"/>
                  <a:gd name="connsiteX2" fmla="*/ 0 w 1828800"/>
                  <a:gd name="connsiteY2" fmla="*/ 2612572 h 3657600"/>
                </a:gdLst>
                <a:ahLst/>
                <a:cxnLst>
                  <a:cxn ang="0">
                    <a:pos x="connsiteX0" y="connsiteY0"/>
                  </a:cxn>
                  <a:cxn ang="0">
                    <a:pos x="connsiteX1" y="connsiteY1"/>
                  </a:cxn>
                  <a:cxn ang="0">
                    <a:pos x="connsiteX2" y="connsiteY2"/>
                  </a:cxn>
                </a:cxnLst>
                <a:rect l="l" t="t" r="r" b="b"/>
                <a:pathLst>
                  <a:path w="1828800" h="3657600">
                    <a:moveTo>
                      <a:pt x="1828800" y="0"/>
                    </a:moveTo>
                    <a:lnTo>
                      <a:pt x="1828800" y="3657600"/>
                    </a:lnTo>
                    <a:lnTo>
                      <a:pt x="0" y="2612572"/>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3" name="Freeform 192"/>
              <p:cNvSpPr/>
              <p:nvPr/>
            </p:nvSpPr>
            <p:spPr bwMode="auto">
              <a:xfrm>
                <a:off x="5617029" y="4934857"/>
                <a:ext cx="5849257" cy="3381829"/>
              </a:xfrm>
              <a:custGeom>
                <a:avLst/>
                <a:gdLst>
                  <a:gd name="connsiteX0" fmla="*/ 0 w 5849257"/>
                  <a:gd name="connsiteY0" fmla="*/ 3381829 h 3381829"/>
                  <a:gd name="connsiteX1" fmla="*/ 5849257 w 5849257"/>
                  <a:gd name="connsiteY1" fmla="*/ 0 h 3381829"/>
                </a:gdLst>
                <a:ahLst/>
                <a:cxnLst>
                  <a:cxn ang="0">
                    <a:pos x="connsiteX0" y="connsiteY0"/>
                  </a:cxn>
                  <a:cxn ang="0">
                    <a:pos x="connsiteX1" y="connsiteY1"/>
                  </a:cxn>
                </a:cxnLst>
                <a:rect l="l" t="t" r="r" b="b"/>
                <a:pathLst>
                  <a:path w="5849257" h="3381829">
                    <a:moveTo>
                      <a:pt x="0" y="3381829"/>
                    </a:moveTo>
                    <a:lnTo>
                      <a:pt x="5849257" y="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grpSp>
        <p:grpSp>
          <p:nvGrpSpPr>
            <p:cNvPr id="179" name="Group 178"/>
            <p:cNvGrpSpPr/>
            <p:nvPr/>
          </p:nvGrpSpPr>
          <p:grpSpPr>
            <a:xfrm>
              <a:off x="5510813" y="1722419"/>
              <a:ext cx="699304" cy="396442"/>
              <a:chOff x="2065951" y="-757238"/>
              <a:chExt cx="3503137" cy="1985962"/>
            </a:xfrm>
          </p:grpSpPr>
          <p:sp>
            <p:nvSpPr>
              <p:cNvPr id="180" name="Freeform 179"/>
              <p:cNvSpPr/>
              <p:nvPr/>
            </p:nvSpPr>
            <p:spPr bwMode="auto">
              <a:xfrm>
                <a:off x="2723175" y="-4202"/>
                <a:ext cx="2137432" cy="1232926"/>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1" name="Freeform 180"/>
              <p:cNvSpPr/>
              <p:nvPr/>
            </p:nvSpPr>
            <p:spPr bwMode="auto">
              <a:xfrm>
                <a:off x="4594837" y="-3810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2" name="Freeform 181"/>
              <p:cNvSpPr/>
              <p:nvPr/>
            </p:nvSpPr>
            <p:spPr bwMode="auto">
              <a:xfrm>
                <a:off x="3956662" y="-376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3" name="Freeform 182"/>
              <p:cNvSpPr/>
              <p:nvPr/>
            </p:nvSpPr>
            <p:spPr bwMode="auto">
              <a:xfrm>
                <a:off x="3332775" y="-757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4" name="Freeform 183"/>
              <p:cNvSpPr/>
              <p:nvPr/>
            </p:nvSpPr>
            <p:spPr bwMode="auto">
              <a:xfrm>
                <a:off x="2699363" y="-390526"/>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5" name="Freeform 184"/>
              <p:cNvSpPr/>
              <p:nvPr/>
            </p:nvSpPr>
            <p:spPr bwMode="auto">
              <a:xfrm>
                <a:off x="2065951" y="-1905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515082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D9D6090-F396-4568-BE62-70077EDBCF41}"/>
              </a:ext>
            </a:extLst>
          </p:cNvPr>
          <p:cNvSpPr txBox="1">
            <a:spLocks/>
          </p:cNvSpPr>
          <p:nvPr/>
        </p:nvSpPr>
        <p:spPr>
          <a:xfrm>
            <a:off x="268927" y="286381"/>
            <a:ext cx="11653523" cy="927940"/>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5098" b="0" i="0" u="none" strike="noStrike" kern="1200" cap="none" spc="-100" normalizeH="0" baseline="0" noProof="0" dirty="0">
                <a:ln w="3175">
                  <a:noFill/>
                </a:ln>
                <a:solidFill>
                  <a:srgbClr val="505050"/>
                </a:solidFill>
                <a:effectLst/>
                <a:uLnTx/>
                <a:uFillTx/>
                <a:latin typeface="Segoe UI Light"/>
                <a:ea typeface="ＭＳ Ｐゴシック" charset="0"/>
                <a:cs typeface="Segoe UI" pitchFamily="34" charset="0"/>
              </a:rPr>
              <a:t>Configuration Management Options</a:t>
            </a:r>
          </a:p>
        </p:txBody>
      </p:sp>
      <p:graphicFrame>
        <p:nvGraphicFramePr>
          <p:cNvPr id="8" name="Content Placeholder 5">
            <a:extLst>
              <a:ext uri="{FF2B5EF4-FFF2-40B4-BE49-F238E27FC236}">
                <a16:creationId xmlns:a16="http://schemas.microsoft.com/office/drawing/2014/main" id="{75B3EA83-66F6-457D-9710-CE030E640CBF}"/>
              </a:ext>
            </a:extLst>
          </p:cNvPr>
          <p:cNvGraphicFramePr>
            <a:graphicFrameLocks/>
          </p:cNvGraphicFramePr>
          <p:nvPr>
            <p:extLst>
              <p:ext uri="{D42A27DB-BD31-4B8C-83A1-F6EECF244321}">
                <p14:modId xmlns:p14="http://schemas.microsoft.com/office/powerpoint/2010/main" val="1555915948"/>
              </p:ext>
            </p:extLst>
          </p:nvPr>
        </p:nvGraphicFramePr>
        <p:xfrm>
          <a:off x="609288" y="1395274"/>
          <a:ext cx="10972800" cy="4067451"/>
        </p:xfrm>
        <a:graphic>
          <a:graphicData uri="http://schemas.openxmlformats.org/drawingml/2006/table">
            <a:tbl>
              <a:tblPr firstRow="1" bandRow="1"/>
              <a:tblGrid>
                <a:gridCol w="3016968">
                  <a:extLst>
                    <a:ext uri="{9D8B030D-6E8A-4147-A177-3AD203B41FA5}">
                      <a16:colId xmlns:a16="http://schemas.microsoft.com/office/drawing/2014/main" val="2356847024"/>
                    </a:ext>
                  </a:extLst>
                </a:gridCol>
                <a:gridCol w="4298232">
                  <a:extLst>
                    <a:ext uri="{9D8B030D-6E8A-4147-A177-3AD203B41FA5}">
                      <a16:colId xmlns:a16="http://schemas.microsoft.com/office/drawing/2014/main" val="1329881371"/>
                    </a:ext>
                  </a:extLst>
                </a:gridCol>
                <a:gridCol w="3657600">
                  <a:extLst>
                    <a:ext uri="{9D8B030D-6E8A-4147-A177-3AD203B41FA5}">
                      <a16:colId xmlns:a16="http://schemas.microsoft.com/office/drawing/2014/main" val="3494393942"/>
                    </a:ext>
                  </a:extLst>
                </a:gridCol>
              </a:tblGrid>
              <a:tr h="348500">
                <a:tc>
                  <a:txBody>
                    <a:bodyPr/>
                    <a:lstStyle>
                      <a:lvl1pPr marL="0" algn="l" defTabSz="914088" rtl="0" eaLnBrk="1" latinLnBrk="0" hangingPunct="1">
                        <a:defRPr sz="1800" b="1" kern="1200">
                          <a:solidFill>
                            <a:schemeClr val="lt1"/>
                          </a:solidFill>
                          <a:latin typeface="Segoe UI"/>
                        </a:defRPr>
                      </a:lvl1pPr>
                      <a:lvl2pPr marL="457044" algn="l" defTabSz="914088" rtl="0" eaLnBrk="1" latinLnBrk="0" hangingPunct="1">
                        <a:defRPr sz="1800" b="1" kern="1200">
                          <a:solidFill>
                            <a:schemeClr val="lt1"/>
                          </a:solidFill>
                          <a:latin typeface="Segoe UI"/>
                        </a:defRPr>
                      </a:lvl2pPr>
                      <a:lvl3pPr marL="914088" algn="l" defTabSz="914088" rtl="0" eaLnBrk="1" latinLnBrk="0" hangingPunct="1">
                        <a:defRPr sz="1800" b="1" kern="1200">
                          <a:solidFill>
                            <a:schemeClr val="lt1"/>
                          </a:solidFill>
                          <a:latin typeface="Segoe UI"/>
                        </a:defRPr>
                      </a:lvl3pPr>
                      <a:lvl4pPr marL="1371133" algn="l" defTabSz="914088" rtl="0" eaLnBrk="1" latinLnBrk="0" hangingPunct="1">
                        <a:defRPr sz="1800" b="1" kern="1200">
                          <a:solidFill>
                            <a:schemeClr val="lt1"/>
                          </a:solidFill>
                          <a:latin typeface="Segoe UI"/>
                        </a:defRPr>
                      </a:lvl4pPr>
                      <a:lvl5pPr marL="1828178" algn="l" defTabSz="914088" rtl="0" eaLnBrk="1" latinLnBrk="0" hangingPunct="1">
                        <a:defRPr sz="1800" b="1" kern="1200">
                          <a:solidFill>
                            <a:schemeClr val="lt1"/>
                          </a:solidFill>
                          <a:latin typeface="Segoe UI"/>
                        </a:defRPr>
                      </a:lvl5pPr>
                      <a:lvl6pPr marL="2285222" algn="l" defTabSz="914088" rtl="0" eaLnBrk="1" latinLnBrk="0" hangingPunct="1">
                        <a:defRPr sz="1800" b="1" kern="1200">
                          <a:solidFill>
                            <a:schemeClr val="lt1"/>
                          </a:solidFill>
                          <a:latin typeface="Segoe UI"/>
                        </a:defRPr>
                      </a:lvl6pPr>
                      <a:lvl7pPr marL="2742267" algn="l" defTabSz="914088" rtl="0" eaLnBrk="1" latinLnBrk="0" hangingPunct="1">
                        <a:defRPr sz="1800" b="1" kern="1200">
                          <a:solidFill>
                            <a:schemeClr val="lt1"/>
                          </a:solidFill>
                          <a:latin typeface="Segoe UI"/>
                        </a:defRPr>
                      </a:lvl7pPr>
                      <a:lvl8pPr marL="3199311" algn="l" defTabSz="914088" rtl="0" eaLnBrk="1" latinLnBrk="0" hangingPunct="1">
                        <a:defRPr sz="1800" b="1" kern="1200">
                          <a:solidFill>
                            <a:schemeClr val="lt1"/>
                          </a:solidFill>
                          <a:latin typeface="Segoe UI"/>
                        </a:defRPr>
                      </a:lvl8pPr>
                      <a:lvl9pPr marL="3656358" algn="l" defTabSz="914088" rtl="0" eaLnBrk="1" latinLnBrk="0" hangingPunct="1">
                        <a:defRPr sz="1800" b="1" kern="1200">
                          <a:solidFill>
                            <a:schemeClr val="lt1"/>
                          </a:solidFill>
                          <a:latin typeface="Segoe UI"/>
                        </a:defRPr>
                      </a:lvl9pPr>
                    </a:lstStyle>
                    <a:p>
                      <a:r>
                        <a:rPr lang="en-US" dirty="0"/>
                        <a:t>Op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217A"/>
                    </a:solidFill>
                  </a:tcPr>
                </a:tc>
                <a:tc>
                  <a:txBody>
                    <a:bodyPr/>
                    <a:lstStyle>
                      <a:lvl1pPr marL="0" algn="l" defTabSz="914088" rtl="0" eaLnBrk="1" latinLnBrk="0" hangingPunct="1">
                        <a:defRPr sz="1800" b="1" kern="1200">
                          <a:solidFill>
                            <a:schemeClr val="lt1"/>
                          </a:solidFill>
                          <a:latin typeface="Segoe UI"/>
                        </a:defRPr>
                      </a:lvl1pPr>
                      <a:lvl2pPr marL="457044" algn="l" defTabSz="914088" rtl="0" eaLnBrk="1" latinLnBrk="0" hangingPunct="1">
                        <a:defRPr sz="1800" b="1" kern="1200">
                          <a:solidFill>
                            <a:schemeClr val="lt1"/>
                          </a:solidFill>
                          <a:latin typeface="Segoe UI"/>
                        </a:defRPr>
                      </a:lvl2pPr>
                      <a:lvl3pPr marL="914088" algn="l" defTabSz="914088" rtl="0" eaLnBrk="1" latinLnBrk="0" hangingPunct="1">
                        <a:defRPr sz="1800" b="1" kern="1200">
                          <a:solidFill>
                            <a:schemeClr val="lt1"/>
                          </a:solidFill>
                          <a:latin typeface="Segoe UI"/>
                        </a:defRPr>
                      </a:lvl3pPr>
                      <a:lvl4pPr marL="1371133" algn="l" defTabSz="914088" rtl="0" eaLnBrk="1" latinLnBrk="0" hangingPunct="1">
                        <a:defRPr sz="1800" b="1" kern="1200">
                          <a:solidFill>
                            <a:schemeClr val="lt1"/>
                          </a:solidFill>
                          <a:latin typeface="Segoe UI"/>
                        </a:defRPr>
                      </a:lvl4pPr>
                      <a:lvl5pPr marL="1828178" algn="l" defTabSz="914088" rtl="0" eaLnBrk="1" latinLnBrk="0" hangingPunct="1">
                        <a:defRPr sz="1800" b="1" kern="1200">
                          <a:solidFill>
                            <a:schemeClr val="lt1"/>
                          </a:solidFill>
                          <a:latin typeface="Segoe UI"/>
                        </a:defRPr>
                      </a:lvl5pPr>
                      <a:lvl6pPr marL="2285222" algn="l" defTabSz="914088" rtl="0" eaLnBrk="1" latinLnBrk="0" hangingPunct="1">
                        <a:defRPr sz="1800" b="1" kern="1200">
                          <a:solidFill>
                            <a:schemeClr val="lt1"/>
                          </a:solidFill>
                          <a:latin typeface="Segoe UI"/>
                        </a:defRPr>
                      </a:lvl6pPr>
                      <a:lvl7pPr marL="2742267" algn="l" defTabSz="914088" rtl="0" eaLnBrk="1" latinLnBrk="0" hangingPunct="1">
                        <a:defRPr sz="1800" b="1" kern="1200">
                          <a:solidFill>
                            <a:schemeClr val="lt1"/>
                          </a:solidFill>
                          <a:latin typeface="Segoe UI"/>
                        </a:defRPr>
                      </a:lvl7pPr>
                      <a:lvl8pPr marL="3199311" algn="l" defTabSz="914088" rtl="0" eaLnBrk="1" latinLnBrk="0" hangingPunct="1">
                        <a:defRPr sz="1800" b="1" kern="1200">
                          <a:solidFill>
                            <a:schemeClr val="lt1"/>
                          </a:solidFill>
                          <a:latin typeface="Segoe UI"/>
                        </a:defRPr>
                      </a:lvl8pPr>
                      <a:lvl9pPr marL="3656358" algn="l" defTabSz="914088" rtl="0" eaLnBrk="1" latinLnBrk="0" hangingPunct="1">
                        <a:defRPr sz="1800" b="1" kern="1200">
                          <a:solidFill>
                            <a:schemeClr val="lt1"/>
                          </a:solidFill>
                          <a:latin typeface="Segoe UI"/>
                        </a:defRPr>
                      </a:lvl9pPr>
                    </a:lstStyle>
                    <a:p>
                      <a:r>
                        <a:rPr lang="en-US" dirty="0"/>
                        <a:t>Descrip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217A"/>
                    </a:solidFill>
                  </a:tcPr>
                </a:tc>
                <a:tc>
                  <a:txBody>
                    <a:bodyPr/>
                    <a:lstStyle>
                      <a:lvl1pPr marL="0" algn="l" defTabSz="914088" rtl="0" eaLnBrk="1" latinLnBrk="0" hangingPunct="1">
                        <a:defRPr sz="1800" b="1" kern="1200">
                          <a:solidFill>
                            <a:schemeClr val="lt1"/>
                          </a:solidFill>
                          <a:latin typeface="Segoe UI"/>
                        </a:defRPr>
                      </a:lvl1pPr>
                      <a:lvl2pPr marL="457044" algn="l" defTabSz="914088" rtl="0" eaLnBrk="1" latinLnBrk="0" hangingPunct="1">
                        <a:defRPr sz="1800" b="1" kern="1200">
                          <a:solidFill>
                            <a:schemeClr val="lt1"/>
                          </a:solidFill>
                          <a:latin typeface="Segoe UI"/>
                        </a:defRPr>
                      </a:lvl2pPr>
                      <a:lvl3pPr marL="914088" algn="l" defTabSz="914088" rtl="0" eaLnBrk="1" latinLnBrk="0" hangingPunct="1">
                        <a:defRPr sz="1800" b="1" kern="1200">
                          <a:solidFill>
                            <a:schemeClr val="lt1"/>
                          </a:solidFill>
                          <a:latin typeface="Segoe UI"/>
                        </a:defRPr>
                      </a:lvl3pPr>
                      <a:lvl4pPr marL="1371133" algn="l" defTabSz="914088" rtl="0" eaLnBrk="1" latinLnBrk="0" hangingPunct="1">
                        <a:defRPr sz="1800" b="1" kern="1200">
                          <a:solidFill>
                            <a:schemeClr val="lt1"/>
                          </a:solidFill>
                          <a:latin typeface="Segoe UI"/>
                        </a:defRPr>
                      </a:lvl4pPr>
                      <a:lvl5pPr marL="1828178" algn="l" defTabSz="914088" rtl="0" eaLnBrk="1" latinLnBrk="0" hangingPunct="1">
                        <a:defRPr sz="1800" b="1" kern="1200">
                          <a:solidFill>
                            <a:schemeClr val="lt1"/>
                          </a:solidFill>
                          <a:latin typeface="Segoe UI"/>
                        </a:defRPr>
                      </a:lvl5pPr>
                      <a:lvl6pPr marL="2285222" algn="l" defTabSz="914088" rtl="0" eaLnBrk="1" latinLnBrk="0" hangingPunct="1">
                        <a:defRPr sz="1800" b="1" kern="1200">
                          <a:solidFill>
                            <a:schemeClr val="lt1"/>
                          </a:solidFill>
                          <a:latin typeface="Segoe UI"/>
                        </a:defRPr>
                      </a:lvl6pPr>
                      <a:lvl7pPr marL="2742267" algn="l" defTabSz="914088" rtl="0" eaLnBrk="1" latinLnBrk="0" hangingPunct="1">
                        <a:defRPr sz="1800" b="1" kern="1200">
                          <a:solidFill>
                            <a:schemeClr val="lt1"/>
                          </a:solidFill>
                          <a:latin typeface="Segoe UI"/>
                        </a:defRPr>
                      </a:lvl7pPr>
                      <a:lvl8pPr marL="3199311" algn="l" defTabSz="914088" rtl="0" eaLnBrk="1" latinLnBrk="0" hangingPunct="1">
                        <a:defRPr sz="1800" b="1" kern="1200">
                          <a:solidFill>
                            <a:schemeClr val="lt1"/>
                          </a:solidFill>
                          <a:latin typeface="Segoe UI"/>
                        </a:defRPr>
                      </a:lvl8pPr>
                      <a:lvl9pPr marL="3656358" algn="l" defTabSz="914088" rtl="0" eaLnBrk="1" latinLnBrk="0" hangingPunct="1">
                        <a:defRPr sz="1800" b="1" kern="1200">
                          <a:solidFill>
                            <a:schemeClr val="lt1"/>
                          </a:solidFill>
                          <a:latin typeface="Segoe UI"/>
                        </a:defRPr>
                      </a:lvl9pPr>
                    </a:lstStyle>
                    <a:p>
                      <a:r>
                        <a:rPr lang="en-US" dirty="0"/>
                        <a:t>Benefit</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8217A"/>
                    </a:solidFill>
                  </a:tcPr>
                </a:tc>
                <a:extLst>
                  <a:ext uri="{0D108BD9-81ED-4DB2-BD59-A6C34878D82A}">
                    <a16:rowId xmlns:a16="http://schemas.microsoft.com/office/drawing/2014/main" val="3056664323"/>
                  </a:ext>
                </a:extLst>
              </a:tr>
              <a:tr h="837657">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err="1"/>
                        <a:t>Ambari</a:t>
                      </a:r>
                      <a:r>
                        <a:rPr lang="en-US" baseline="0" dirty="0"/>
                        <a:t> Web UI</a:t>
                      </a:r>
                      <a:endParaRPr lang="en-US" dirty="0"/>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4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Browser-based graphic</a:t>
                      </a:r>
                      <a:r>
                        <a:rPr lang="en-US" baseline="0" dirty="0"/>
                        <a:t> user management interface </a:t>
                      </a:r>
                      <a:endParaRPr lang="en-US" dirty="0"/>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4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Ease of use, pre-built and ready-to-go</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40000"/>
                      </a:srgbClr>
                    </a:solidFill>
                  </a:tcPr>
                </a:tc>
                <a:extLst>
                  <a:ext uri="{0D108BD9-81ED-4DB2-BD59-A6C34878D82A}">
                    <a16:rowId xmlns:a16="http://schemas.microsoft.com/office/drawing/2014/main" val="3733990277"/>
                  </a:ext>
                </a:extLst>
              </a:tr>
              <a:tr h="837657">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REST</a:t>
                      </a:r>
                      <a:r>
                        <a:rPr lang="en-US" baseline="0" dirty="0"/>
                        <a:t> APIs: </a:t>
                      </a:r>
                      <a:r>
                        <a:rPr lang="en-US" baseline="0" dirty="0" err="1"/>
                        <a:t>Ambari</a:t>
                      </a:r>
                      <a:r>
                        <a:rPr lang="en-US" baseline="0" dirty="0"/>
                        <a:t>, </a:t>
                      </a:r>
                      <a:r>
                        <a:rPr lang="en-US" baseline="0" dirty="0" err="1"/>
                        <a:t>WebHDFS</a:t>
                      </a:r>
                      <a:r>
                        <a:rPr lang="en-US" baseline="0" dirty="0"/>
                        <a:t>, YARN </a:t>
                      </a:r>
                      <a:r>
                        <a:rPr lang="en-US" baseline="0" dirty="0" err="1"/>
                        <a:t>etc</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2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Use</a:t>
                      </a:r>
                      <a:r>
                        <a:rPr lang="en-US" baseline="0" dirty="0"/>
                        <a:t> HTTP verbs (GET, PUT, POST, DELETE) management interface</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2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Integration with other</a:t>
                      </a:r>
                      <a:r>
                        <a:rPr lang="en-US" baseline="0" dirty="0"/>
                        <a:t> web-based management interfaces.</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20000"/>
                      </a:srgbClr>
                    </a:solidFill>
                  </a:tcPr>
                </a:tc>
                <a:extLst>
                  <a:ext uri="{0D108BD9-81ED-4DB2-BD59-A6C34878D82A}">
                    <a16:rowId xmlns:a16="http://schemas.microsoft.com/office/drawing/2014/main" val="296618573"/>
                  </a:ext>
                </a:extLst>
              </a:tr>
              <a:tr h="1075865">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Manual Editing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4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Manually edit and distribute</a:t>
                      </a:r>
                      <a:r>
                        <a:rPr lang="en-US" baseline="0" dirty="0"/>
                        <a:t> configuration files, manually restart services</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4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No reliance on</a:t>
                      </a:r>
                      <a:r>
                        <a:rPr lang="en-US" baseline="0" dirty="0"/>
                        <a:t> a GUI, no need to install </a:t>
                      </a:r>
                      <a:r>
                        <a:rPr lang="en-US" baseline="0" dirty="0" err="1"/>
                        <a:t>Ambari</a:t>
                      </a:r>
                      <a:r>
                        <a:rPr lang="en-US" baseline="0" dirty="0"/>
                        <a:t>.</a:t>
                      </a:r>
                    </a:p>
                    <a:p>
                      <a:pPr algn="l"/>
                      <a:r>
                        <a:rPr lang="en-US" baseline="0" dirty="0"/>
                        <a:t>[Not compatible with </a:t>
                      </a:r>
                      <a:r>
                        <a:rPr lang="en-US" baseline="0" dirty="0" err="1"/>
                        <a:t>Ambari</a:t>
                      </a:r>
                      <a:r>
                        <a:rPr lang="en-US" baseline="0" dirty="0"/>
                        <a:t> management]</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40000"/>
                      </a:srgbClr>
                    </a:solidFill>
                  </a:tcPr>
                </a:tc>
                <a:extLst>
                  <a:ext uri="{0D108BD9-81ED-4DB2-BD59-A6C34878D82A}">
                    <a16:rowId xmlns:a16="http://schemas.microsoft.com/office/drawing/2014/main" val="1998402502"/>
                  </a:ext>
                </a:extLst>
              </a:tr>
              <a:tr h="837657">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Command</a:t>
                      </a:r>
                      <a:r>
                        <a:rPr lang="en-US" baseline="0" dirty="0"/>
                        <a:t>-line</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2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Per-framework command-line management</a:t>
                      </a:r>
                      <a:r>
                        <a:rPr lang="en-US" baseline="0" dirty="0"/>
                        <a:t> utilities</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20000"/>
                      </a:srgbClr>
                    </a:solidFill>
                  </a:tcPr>
                </a:tc>
                <a:tc>
                  <a:txBody>
                    <a:bodyPr/>
                    <a:lstStyle>
                      <a:lvl1pPr marL="0" algn="l" defTabSz="914088" rtl="0" eaLnBrk="1" latinLnBrk="0" hangingPunct="1">
                        <a:defRPr sz="1800" kern="1200">
                          <a:solidFill>
                            <a:schemeClr val="dk1"/>
                          </a:solidFill>
                          <a:latin typeface="Segoe UI"/>
                        </a:defRPr>
                      </a:lvl1pPr>
                      <a:lvl2pPr marL="457044" algn="l" defTabSz="914088" rtl="0" eaLnBrk="1" latinLnBrk="0" hangingPunct="1">
                        <a:defRPr sz="1800" kern="1200">
                          <a:solidFill>
                            <a:schemeClr val="dk1"/>
                          </a:solidFill>
                          <a:latin typeface="Segoe UI"/>
                        </a:defRPr>
                      </a:lvl2pPr>
                      <a:lvl3pPr marL="914088" algn="l" defTabSz="914088" rtl="0" eaLnBrk="1" latinLnBrk="0" hangingPunct="1">
                        <a:defRPr sz="1800" kern="1200">
                          <a:solidFill>
                            <a:schemeClr val="dk1"/>
                          </a:solidFill>
                          <a:latin typeface="Segoe UI"/>
                        </a:defRPr>
                      </a:lvl3pPr>
                      <a:lvl4pPr marL="1371133" algn="l" defTabSz="914088" rtl="0" eaLnBrk="1" latinLnBrk="0" hangingPunct="1">
                        <a:defRPr sz="1800" kern="1200">
                          <a:solidFill>
                            <a:schemeClr val="dk1"/>
                          </a:solidFill>
                          <a:latin typeface="Segoe UI"/>
                        </a:defRPr>
                      </a:lvl4pPr>
                      <a:lvl5pPr marL="1828178" algn="l" defTabSz="914088" rtl="0" eaLnBrk="1" latinLnBrk="0" hangingPunct="1">
                        <a:defRPr sz="1800" kern="1200">
                          <a:solidFill>
                            <a:schemeClr val="dk1"/>
                          </a:solidFill>
                          <a:latin typeface="Segoe UI"/>
                        </a:defRPr>
                      </a:lvl5pPr>
                      <a:lvl6pPr marL="2285222" algn="l" defTabSz="914088" rtl="0" eaLnBrk="1" latinLnBrk="0" hangingPunct="1">
                        <a:defRPr sz="1800" kern="1200">
                          <a:solidFill>
                            <a:schemeClr val="dk1"/>
                          </a:solidFill>
                          <a:latin typeface="Segoe UI"/>
                        </a:defRPr>
                      </a:lvl6pPr>
                      <a:lvl7pPr marL="2742267" algn="l" defTabSz="914088" rtl="0" eaLnBrk="1" latinLnBrk="0" hangingPunct="1">
                        <a:defRPr sz="1800" kern="1200">
                          <a:solidFill>
                            <a:schemeClr val="dk1"/>
                          </a:solidFill>
                          <a:latin typeface="Segoe UI"/>
                        </a:defRPr>
                      </a:lvl7pPr>
                      <a:lvl8pPr marL="3199311" algn="l" defTabSz="914088" rtl="0" eaLnBrk="1" latinLnBrk="0" hangingPunct="1">
                        <a:defRPr sz="1800" kern="1200">
                          <a:solidFill>
                            <a:schemeClr val="dk1"/>
                          </a:solidFill>
                          <a:latin typeface="Segoe UI"/>
                        </a:defRPr>
                      </a:lvl8pPr>
                      <a:lvl9pPr marL="3656358" algn="l" defTabSz="914088" rtl="0" eaLnBrk="1" latinLnBrk="0" hangingPunct="1">
                        <a:defRPr sz="1800" kern="1200">
                          <a:solidFill>
                            <a:schemeClr val="dk1"/>
                          </a:solidFill>
                          <a:latin typeface="Segoe UI"/>
                        </a:defRPr>
                      </a:lvl9pPr>
                    </a:lstStyle>
                    <a:p>
                      <a:pPr algn="l"/>
                      <a:r>
                        <a:rPr lang="en-US" dirty="0"/>
                        <a:t>Scriptable,</a:t>
                      </a:r>
                      <a:r>
                        <a:rPr lang="en-US" baseline="0" dirty="0"/>
                        <a:t> no reliance on a GUI</a:t>
                      </a:r>
                      <a:endParaRPr lang="en-US"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8217A">
                        <a:tint val="20000"/>
                      </a:srgbClr>
                    </a:solidFill>
                  </a:tcPr>
                </a:tc>
                <a:extLst>
                  <a:ext uri="{0D108BD9-81ED-4DB2-BD59-A6C34878D82A}">
                    <a16:rowId xmlns:a16="http://schemas.microsoft.com/office/drawing/2014/main" val="1831301348"/>
                  </a:ext>
                </a:extLst>
              </a:tr>
            </a:tbl>
          </a:graphicData>
        </a:graphic>
      </p:graphicFrame>
    </p:spTree>
    <p:extLst>
      <p:ext uri="{BB962C8B-B14F-4D97-AF65-F5344CB8AC3E}">
        <p14:creationId xmlns:p14="http://schemas.microsoft.com/office/powerpoint/2010/main" val="30373131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852610064"/>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78327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 of Big Data Processing</a:t>
            </a:r>
            <a:endParaRPr lang="en-US" dirty="0"/>
          </a:p>
        </p:txBody>
      </p:sp>
      <p:sp>
        <p:nvSpPr>
          <p:cNvPr id="3" name="Content Placeholder 2"/>
          <p:cNvSpPr>
            <a:spLocks noGrp="1"/>
          </p:cNvSpPr>
          <p:nvPr>
            <p:ph sz="quarter" idx="10"/>
          </p:nvPr>
        </p:nvSpPr>
        <p:spPr>
          <a:xfrm>
            <a:off x="379413" y="1960684"/>
            <a:ext cx="11525250" cy="4717929"/>
          </a:xfrm>
        </p:spPr>
        <p:txBody>
          <a:bodyPr/>
          <a:lstStyle/>
          <a:p>
            <a:r>
              <a:rPr lang="en-US" dirty="0"/>
              <a:t>Big Data Processing Workflow</a:t>
            </a:r>
          </a:p>
          <a:p>
            <a:pPr marL="746125" lvl="1" indent="-457200">
              <a:buFont typeface="+mj-lt"/>
              <a:buAutoNum type="arabicPeriod"/>
            </a:pPr>
            <a:r>
              <a:rPr lang="en-US" dirty="0"/>
              <a:t>Upload source data to HDFS in a Microsoft Azure storage blob container</a:t>
            </a:r>
          </a:p>
          <a:p>
            <a:pPr marL="746125" lvl="1" indent="-457200">
              <a:buFont typeface="+mj-lt"/>
              <a:buAutoNum type="arabicPeriod"/>
            </a:pPr>
            <a:r>
              <a:rPr lang="en-US" dirty="0"/>
              <a:t>Transform the data using Pig, Hive, and Map/Reduce</a:t>
            </a:r>
          </a:p>
          <a:p>
            <a:pPr marL="746125" lvl="1" indent="-457200">
              <a:buFont typeface="+mj-lt"/>
              <a:buAutoNum type="arabicPeriod"/>
            </a:pPr>
            <a:r>
              <a:rPr lang="en-US" dirty="0"/>
              <a:t>Consume the results of the transformation for reporting and analysis</a:t>
            </a:r>
          </a:p>
          <a:p>
            <a:r>
              <a:rPr lang="en-US" dirty="0"/>
              <a:t>Provision Microsoft Azure HDInsight on-demand</a:t>
            </a:r>
          </a:p>
          <a:p>
            <a:pPr lvl="1"/>
            <a:r>
              <a:rPr lang="en-GB" dirty="0"/>
              <a:t>Ensure data processing operations are repeatable</a:t>
            </a:r>
          </a:p>
          <a:p>
            <a:pPr lvl="1"/>
            <a:r>
              <a:rPr lang="en-GB" dirty="0"/>
              <a:t>Minimize hard-coded dependencies</a:t>
            </a:r>
            <a:endParaRPr lang="en-US" dirty="0"/>
          </a:p>
        </p:txBody>
      </p:sp>
    </p:spTree>
    <p:extLst>
      <p:ext uri="{BB962C8B-B14F-4D97-AF65-F5344CB8AC3E}">
        <p14:creationId xmlns:p14="http://schemas.microsoft.com/office/powerpoint/2010/main" val="29393421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 Concept</a:t>
            </a:r>
          </a:p>
        </p:txBody>
      </p:sp>
      <p:sp>
        <p:nvSpPr>
          <p:cNvPr id="6" name="Slide Number Placeholder 5"/>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5</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6" name="Group 65"/>
          <p:cNvGrpSpPr/>
          <p:nvPr/>
        </p:nvGrpSpPr>
        <p:grpSpPr>
          <a:xfrm>
            <a:off x="6705994" y="5152100"/>
            <a:ext cx="4173333" cy="556995"/>
            <a:chOff x="7267499" y="4959199"/>
            <a:chExt cx="4257017" cy="568164"/>
          </a:xfrm>
        </p:grpSpPr>
        <p:sp>
          <p:nvSpPr>
            <p:cNvPr id="25" name="Isosceles Triangle 24"/>
            <p:cNvSpPr/>
            <p:nvPr/>
          </p:nvSpPr>
          <p:spPr bwMode="auto">
            <a:xfrm flipV="1">
              <a:off x="7267499" y="4959199"/>
              <a:ext cx="4257017" cy="568164"/>
            </a:xfrm>
            <a:prstGeom prst="triangle">
              <a:avLst/>
            </a:prstGeom>
            <a:noFill/>
            <a:ln w="19050" cap="rnd">
              <a:solidFill>
                <a:schemeClr val="bg1">
                  <a:lumMod val="75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1" name="Group 60"/>
            <p:cNvGrpSpPr/>
            <p:nvPr/>
          </p:nvGrpSpPr>
          <p:grpSpPr>
            <a:xfrm>
              <a:off x="8445328" y="5004579"/>
              <a:ext cx="1901359" cy="409584"/>
              <a:chOff x="8412347" y="5004579"/>
              <a:chExt cx="1901359" cy="409584"/>
            </a:xfrm>
          </p:grpSpPr>
          <p:sp>
            <p:nvSpPr>
              <p:cNvPr id="26" name="Rectangle 25"/>
              <p:cNvSpPr/>
              <p:nvPr/>
            </p:nvSpPr>
            <p:spPr bwMode="auto">
              <a:xfrm>
                <a:off x="8412347" y="5016953"/>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7" name="Rectangle 26"/>
              <p:cNvSpPr/>
              <p:nvPr/>
            </p:nvSpPr>
            <p:spPr bwMode="auto">
              <a:xfrm>
                <a:off x="9148124" y="5186055"/>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 name="Rectangle 27"/>
              <p:cNvSpPr/>
              <p:nvPr/>
            </p:nvSpPr>
            <p:spPr bwMode="auto">
              <a:xfrm>
                <a:off x="9883901" y="5004579"/>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29" name="Rectangle 28"/>
          <p:cNvSpPr/>
          <p:nvPr/>
        </p:nvSpPr>
        <p:spPr bwMode="auto">
          <a:xfrm>
            <a:off x="8211231" y="5814143"/>
            <a:ext cx="1162856" cy="53979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utput</a:t>
            </a:r>
          </a:p>
        </p:txBody>
      </p:sp>
      <p:sp>
        <p:nvSpPr>
          <p:cNvPr id="15" name="Left Brace 14"/>
          <p:cNvSpPr/>
          <p:nvPr/>
        </p:nvSpPr>
        <p:spPr>
          <a:xfrm>
            <a:off x="6030163" y="1278141"/>
            <a:ext cx="183846" cy="2868311"/>
          </a:xfrm>
          <a:prstGeom prst="leftBrace">
            <a:avLst>
              <a:gd name="adj1" fmla="val 47876"/>
              <a:gd name="adj2" fmla="val 50000"/>
            </a:avLst>
          </a:prstGeom>
          <a:solidFill>
            <a:schemeClr val="bg1"/>
          </a:solid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TextBox 30"/>
          <p:cNvSpPr txBox="1"/>
          <p:nvPr/>
        </p:nvSpPr>
        <p:spPr>
          <a:xfrm>
            <a:off x="5109897" y="2270315"/>
            <a:ext cx="888878" cy="883961"/>
          </a:xfrm>
          <a:prstGeom prst="ellipse">
            <a:avLst/>
          </a:prstGeom>
          <a:solidFill>
            <a:schemeClr val="bg1">
              <a:lumMod val="85000"/>
            </a:schemeClr>
          </a:solidFill>
        </p:spPr>
        <p:txBody>
          <a:bodyPr wrap="none" lIns="89642" tIns="44821" rIns="89642" bIns="44821"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Map()</a:t>
            </a:r>
          </a:p>
        </p:txBody>
      </p:sp>
      <p:sp>
        <p:nvSpPr>
          <p:cNvPr id="32" name="TextBox 31"/>
          <p:cNvSpPr txBox="1"/>
          <p:nvPr/>
        </p:nvSpPr>
        <p:spPr>
          <a:xfrm>
            <a:off x="5109897" y="4938219"/>
            <a:ext cx="888878" cy="883961"/>
          </a:xfrm>
          <a:prstGeom prst="ellipse">
            <a:avLst/>
          </a:prstGeom>
          <a:solidFill>
            <a:schemeClr val="bg1">
              <a:lumMod val="85000"/>
            </a:schemeClr>
          </a:solidFill>
        </p:spPr>
        <p:txBody>
          <a:bodyPr wrap="none" lIns="89642" tIns="44821" rIns="89642" bIns="44821"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duce()</a:t>
            </a:r>
          </a:p>
        </p:txBody>
      </p:sp>
      <p:grpSp>
        <p:nvGrpSpPr>
          <p:cNvPr id="34" name="Group 33"/>
          <p:cNvGrpSpPr/>
          <p:nvPr/>
        </p:nvGrpSpPr>
        <p:grpSpPr>
          <a:xfrm>
            <a:off x="479331" y="1744345"/>
            <a:ext cx="4312560" cy="1538804"/>
            <a:chOff x="603233" y="1238495"/>
            <a:chExt cx="4399036" cy="1569660"/>
          </a:xfrm>
        </p:grpSpPr>
        <p:sp>
          <p:nvSpPr>
            <p:cNvPr id="35" name="Rectangle 34"/>
            <p:cNvSpPr/>
            <p:nvPr/>
          </p:nvSpPr>
          <p:spPr>
            <a:xfrm>
              <a:off x="899886" y="1238495"/>
              <a:ext cx="4102383" cy="1569660"/>
            </a:xfrm>
            <a:prstGeom prst="rect">
              <a:avLst/>
            </a:prstGeom>
          </p:spPr>
          <p:txBody>
            <a:bodyPr wrap="square">
              <a:spAutoFit/>
            </a:bodyPr>
            <a:lstStyle/>
            <a:p>
              <a:pPr marL="52912" marR="0" lvl="1" indent="0" algn="l" defTabSz="913770" rtl="0" eaLnBrk="1" fontAlgn="base" latinLnBrk="0" hangingPunct="1">
                <a:lnSpc>
                  <a:spcPct val="100000"/>
                </a:lnSpc>
                <a:spcBef>
                  <a:spcPts val="588"/>
                </a:spcBef>
                <a:spcAft>
                  <a:spcPts val="588"/>
                </a:spcAft>
                <a:buClr>
                  <a:srgbClr val="68217A">
                    <a:lumMod val="50000"/>
                  </a:srgbClr>
                </a:buClr>
                <a:buSzTx/>
                <a:buFontTx/>
                <a:buNone/>
                <a:tabLst>
                  <a:tab pos="645523" algn="l"/>
                </a:tabLst>
                <a:defRPr/>
              </a:pPr>
              <a:r>
                <a:rPr kumimoji="0" lang="en-IN" sz="2353"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Programming framework (library and runtime) for analysing datasets stored in HDFS</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7" name="Group 36"/>
          <p:cNvGrpSpPr/>
          <p:nvPr/>
        </p:nvGrpSpPr>
        <p:grpSpPr>
          <a:xfrm>
            <a:off x="479331" y="3484439"/>
            <a:ext cx="4266168" cy="814661"/>
            <a:chOff x="603233" y="2288574"/>
            <a:chExt cx="4351714" cy="830997"/>
          </a:xfrm>
        </p:grpSpPr>
        <p:sp>
          <p:nvSpPr>
            <p:cNvPr id="38" name="Rectangle 37"/>
            <p:cNvSpPr/>
            <p:nvPr/>
          </p:nvSpPr>
          <p:spPr>
            <a:xfrm>
              <a:off x="899887" y="2288574"/>
              <a:ext cx="4055060" cy="830997"/>
            </a:xfrm>
            <a:prstGeom prst="rect">
              <a:avLst/>
            </a:prstGeom>
          </p:spPr>
          <p:txBody>
            <a:bodyPr wrap="square">
              <a:spAutoFit/>
            </a:bodyPr>
            <a:lstStyle/>
            <a:p>
              <a:pPr marL="52912" marR="0" lvl="1" indent="0" algn="l" defTabSz="913770" rtl="0" eaLnBrk="1" fontAlgn="base" latinLnBrk="0" hangingPunct="1">
                <a:lnSpc>
                  <a:spcPct val="100000"/>
                </a:lnSpc>
                <a:spcBef>
                  <a:spcPts val="588"/>
                </a:spcBef>
                <a:spcAft>
                  <a:spcPts val="588"/>
                </a:spcAft>
                <a:buClr>
                  <a:srgbClr val="68217A">
                    <a:lumMod val="50000"/>
                  </a:srgbClr>
                </a:buClr>
                <a:buSzTx/>
                <a:buFontTx/>
                <a:buNone/>
                <a:tabLst>
                  <a:tab pos="645523" algn="l"/>
                </a:tabLst>
                <a:defRPr/>
              </a:pPr>
              <a:r>
                <a:rPr kumimoji="0" lang="en-IN" sz="2353"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Composed of user-supplied Map and Reduce functions:</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 name="Group 39"/>
          <p:cNvGrpSpPr/>
          <p:nvPr/>
        </p:nvGrpSpPr>
        <p:grpSpPr>
          <a:xfrm>
            <a:off x="891502" y="4351412"/>
            <a:ext cx="3702676" cy="693970"/>
            <a:chOff x="1293544" y="3338653"/>
            <a:chExt cx="3776922" cy="707886"/>
          </a:xfrm>
        </p:grpSpPr>
        <p:sp>
          <p:nvSpPr>
            <p:cNvPr id="41" name="Rectangle 40"/>
            <p:cNvSpPr/>
            <p:nvPr/>
          </p:nvSpPr>
          <p:spPr>
            <a:xfrm>
              <a:off x="1485892" y="3338653"/>
              <a:ext cx="3584574" cy="707886"/>
            </a:xfrm>
            <a:prstGeom prst="rect">
              <a:avLst/>
            </a:prstGeom>
          </p:spPr>
          <p:txBody>
            <a:bodyPr wrap="square">
              <a:spAutoFit/>
            </a:bodyPr>
            <a:lstStyle/>
            <a:p>
              <a:pPr marL="287902" marR="0" lvl="1" indent="-287902" algn="l" defTabSz="913770" rtl="0" eaLnBrk="1" fontAlgn="base" latinLnBrk="0" hangingPunct="1">
                <a:lnSpc>
                  <a:spcPct val="100000"/>
                </a:lnSpc>
                <a:spcBef>
                  <a:spcPts val="196"/>
                </a:spcBef>
                <a:spcAft>
                  <a:spcPts val="196"/>
                </a:spcAft>
                <a:buClr>
                  <a:srgbClr val="68217A">
                    <a:lumMod val="50000"/>
                  </a:srgbClr>
                </a:buClr>
                <a:buSzTx/>
                <a:buFont typeface="Segoe UI" panose="020B0502040204020203" pitchFamily="34" charset="0"/>
                <a:buChar char="–"/>
                <a:tabLst>
                  <a:tab pos="645523" algn="l"/>
                </a:tabLst>
                <a:defRPr/>
              </a:pPr>
              <a:r>
                <a:rPr kumimoji="0" lang="en-IN" sz="1961"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Map() - subdivide and conquer</a:t>
              </a:r>
            </a:p>
          </p:txBody>
        </p:sp>
        <p:sp>
          <p:nvSpPr>
            <p:cNvPr id="42" name="Freeform 41"/>
            <p:cNvSpPr>
              <a:spLocks/>
            </p:cNvSpPr>
            <p:nvPr/>
          </p:nvSpPr>
          <p:spPr bwMode="auto">
            <a:xfrm>
              <a:off x="1293544" y="3494856"/>
              <a:ext cx="238068" cy="18057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891820" y="5094059"/>
            <a:ext cx="3726093" cy="693970"/>
            <a:chOff x="1293868" y="4388732"/>
            <a:chExt cx="3800809" cy="707886"/>
          </a:xfrm>
        </p:grpSpPr>
        <p:sp>
          <p:nvSpPr>
            <p:cNvPr id="44" name="Rectangle 43"/>
            <p:cNvSpPr/>
            <p:nvPr/>
          </p:nvSpPr>
          <p:spPr>
            <a:xfrm>
              <a:off x="1485893" y="4388732"/>
              <a:ext cx="3608784" cy="707886"/>
            </a:xfrm>
            <a:prstGeom prst="rect">
              <a:avLst/>
            </a:prstGeom>
          </p:spPr>
          <p:txBody>
            <a:bodyPr wrap="square">
              <a:spAutoFit/>
            </a:bodyPr>
            <a:lstStyle/>
            <a:p>
              <a:pPr marL="287902" marR="0" lvl="1" indent="-287902" algn="l" defTabSz="913770" rtl="0" eaLnBrk="1" fontAlgn="base" latinLnBrk="0" hangingPunct="1">
                <a:lnSpc>
                  <a:spcPct val="100000"/>
                </a:lnSpc>
                <a:spcBef>
                  <a:spcPts val="196"/>
                </a:spcBef>
                <a:spcAft>
                  <a:spcPts val="196"/>
                </a:spcAft>
                <a:buClr>
                  <a:srgbClr val="68217A">
                    <a:lumMod val="50000"/>
                  </a:srgbClr>
                </a:buClr>
                <a:buSzTx/>
                <a:buFont typeface="Segoe UI" panose="020B0502040204020203" pitchFamily="34" charset="0"/>
                <a:buChar char="–"/>
                <a:tabLst>
                  <a:tab pos="645523" algn="l"/>
                </a:tabLst>
                <a:defRPr/>
              </a:pPr>
              <a:r>
                <a:rPr kumimoji="0" lang="en-IN" sz="1961"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Reduce() - combine and reduce cardinality</a:t>
              </a:r>
            </a:p>
          </p:txBody>
        </p:sp>
        <p:sp>
          <p:nvSpPr>
            <p:cNvPr id="45" name="Freeform 44"/>
            <p:cNvSpPr>
              <a:spLocks/>
            </p:cNvSpPr>
            <p:nvPr/>
          </p:nvSpPr>
          <p:spPr bwMode="auto">
            <a:xfrm>
              <a:off x="1293868" y="4503403"/>
              <a:ext cx="237744" cy="18288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Left Brace 54"/>
          <p:cNvSpPr/>
          <p:nvPr/>
        </p:nvSpPr>
        <p:spPr>
          <a:xfrm>
            <a:off x="6030163" y="4406457"/>
            <a:ext cx="183846" cy="1947485"/>
          </a:xfrm>
          <a:prstGeom prst="leftBrace">
            <a:avLst>
              <a:gd name="adj1" fmla="val 47876"/>
              <a:gd name="adj2" fmla="val 50000"/>
            </a:avLst>
          </a:prstGeom>
          <a:solidFill>
            <a:schemeClr val="bg1"/>
          </a:solid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5" name="Group 64"/>
          <p:cNvGrpSpPr/>
          <p:nvPr/>
        </p:nvGrpSpPr>
        <p:grpSpPr>
          <a:xfrm>
            <a:off x="6418965" y="3520315"/>
            <a:ext cx="4750107" cy="580975"/>
            <a:chOff x="6974714" y="3492630"/>
            <a:chExt cx="4845357" cy="592625"/>
          </a:xfrm>
        </p:grpSpPr>
        <p:grpSp>
          <p:nvGrpSpPr>
            <p:cNvPr id="5" name="Group 4"/>
            <p:cNvGrpSpPr/>
            <p:nvPr/>
          </p:nvGrpSpPr>
          <p:grpSpPr>
            <a:xfrm>
              <a:off x="6974714" y="3492630"/>
              <a:ext cx="1236395" cy="592625"/>
              <a:chOff x="6860414" y="3771242"/>
              <a:chExt cx="1236395" cy="592625"/>
            </a:xfrm>
          </p:grpSpPr>
          <p:sp>
            <p:nvSpPr>
              <p:cNvPr id="16" name="Rectangle 15"/>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 name="TextBox 16"/>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a:ea typeface="+mn-ea"/>
                    <a:cs typeface="+mn-cs"/>
                  </a:rPr>
                  <a:t>Do work()</a:t>
                </a:r>
              </a:p>
            </p:txBody>
          </p:sp>
          <p:sp>
            <p:nvSpPr>
              <p:cNvPr id="10" name="Curved Up Arrow 9"/>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46" name="Group 45"/>
            <p:cNvGrpSpPr/>
            <p:nvPr/>
          </p:nvGrpSpPr>
          <p:grpSpPr>
            <a:xfrm>
              <a:off x="8779195" y="3492630"/>
              <a:ext cx="1236395" cy="592625"/>
              <a:chOff x="6860414" y="3771242"/>
              <a:chExt cx="1236395" cy="592625"/>
            </a:xfrm>
          </p:grpSpPr>
          <p:sp>
            <p:nvSpPr>
              <p:cNvPr id="47" name="Rectangle 46"/>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TextBox 47"/>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a:ea typeface="+mn-ea"/>
                    <a:cs typeface="+mn-cs"/>
                  </a:rPr>
                  <a:t>Do work()</a:t>
                </a:r>
              </a:p>
            </p:txBody>
          </p:sp>
          <p:sp>
            <p:nvSpPr>
              <p:cNvPr id="49" name="Curved Up Arrow 48"/>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50" name="Group 49"/>
            <p:cNvGrpSpPr/>
            <p:nvPr/>
          </p:nvGrpSpPr>
          <p:grpSpPr>
            <a:xfrm>
              <a:off x="10583676" y="3492630"/>
              <a:ext cx="1236395" cy="592625"/>
              <a:chOff x="6860414" y="3771242"/>
              <a:chExt cx="1236395" cy="592625"/>
            </a:xfrm>
          </p:grpSpPr>
          <p:sp>
            <p:nvSpPr>
              <p:cNvPr id="51" name="Rectangle 50"/>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TextBox 51"/>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a:ea typeface="+mn-ea"/>
                    <a:cs typeface="+mn-cs"/>
                  </a:rPr>
                  <a:t>Do work()</a:t>
                </a:r>
              </a:p>
            </p:txBody>
          </p:sp>
          <p:sp>
            <p:nvSpPr>
              <p:cNvPr id="53" name="Curved Up Arrow 52"/>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63" name="Group 62"/>
          <p:cNvGrpSpPr/>
          <p:nvPr/>
        </p:nvGrpSpPr>
        <p:grpSpPr>
          <a:xfrm>
            <a:off x="6271441" y="2822900"/>
            <a:ext cx="5501918" cy="561211"/>
            <a:chOff x="6824232" y="2781232"/>
            <a:chExt cx="5612243" cy="572464"/>
          </a:xfrm>
        </p:grpSpPr>
        <p:sp>
          <p:nvSpPr>
            <p:cNvPr id="14" name="TextBox 13"/>
            <p:cNvSpPr txBox="1"/>
            <p:nvPr/>
          </p:nvSpPr>
          <p:spPr>
            <a:xfrm>
              <a:off x="7228640" y="2781232"/>
              <a:ext cx="5207835" cy="572464"/>
            </a:xfrm>
            <a:prstGeom prst="rect">
              <a:avLst/>
            </a:prstGeom>
            <a:solidFill>
              <a:schemeClr val="accent1"/>
            </a:solidFill>
            <a:ln>
              <a:noFill/>
            </a:ln>
          </p:spPr>
          <p:txBody>
            <a:bodyPr wrap="square" lIns="89642" tIns="143428" rIns="44821"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Perform the same function on all sub-problems.</a:t>
              </a:r>
            </a:p>
          </p:txBody>
        </p:sp>
        <p:sp>
          <p:nvSpPr>
            <p:cNvPr id="56" name="Freeform 55"/>
            <p:cNvSpPr>
              <a:spLocks/>
            </p:cNvSpPr>
            <p:nvPr/>
          </p:nvSpPr>
          <p:spPr bwMode="auto">
            <a:xfrm>
              <a:off x="6824232" y="2842985"/>
              <a:ext cx="273184" cy="448958"/>
            </a:xfrm>
            <a:custGeom>
              <a:avLst/>
              <a:gdLst>
                <a:gd name="T0" fmla="*/ 608 w 617"/>
                <a:gd name="T1" fmla="*/ 1014 h 1014"/>
                <a:gd name="T2" fmla="*/ 17 w 617"/>
                <a:gd name="T3" fmla="*/ 1014 h 1014"/>
                <a:gd name="T4" fmla="*/ 6 w 617"/>
                <a:gd name="T5" fmla="*/ 1014 h 1014"/>
                <a:gd name="T6" fmla="*/ 0 w 617"/>
                <a:gd name="T7" fmla="*/ 1009 h 1014"/>
                <a:gd name="T8" fmla="*/ 2 w 617"/>
                <a:gd name="T9" fmla="*/ 936 h 1014"/>
                <a:gd name="T10" fmla="*/ 11 w 617"/>
                <a:gd name="T11" fmla="*/ 862 h 1014"/>
                <a:gd name="T12" fmla="*/ 25 w 617"/>
                <a:gd name="T13" fmla="*/ 820 h 1014"/>
                <a:gd name="T14" fmla="*/ 56 w 617"/>
                <a:gd name="T15" fmla="*/ 764 h 1014"/>
                <a:gd name="T16" fmla="*/ 98 w 617"/>
                <a:gd name="T17" fmla="*/ 714 h 1014"/>
                <a:gd name="T18" fmla="*/ 167 w 617"/>
                <a:gd name="T19" fmla="*/ 651 h 1014"/>
                <a:gd name="T20" fmla="*/ 241 w 617"/>
                <a:gd name="T21" fmla="*/ 595 h 1014"/>
                <a:gd name="T22" fmla="*/ 361 w 617"/>
                <a:gd name="T23" fmla="*/ 498 h 1014"/>
                <a:gd name="T24" fmla="*/ 392 w 617"/>
                <a:gd name="T25" fmla="*/ 464 h 1014"/>
                <a:gd name="T26" fmla="*/ 431 w 617"/>
                <a:gd name="T27" fmla="*/ 409 h 1014"/>
                <a:gd name="T28" fmla="*/ 455 w 617"/>
                <a:gd name="T29" fmla="*/ 344 h 1014"/>
                <a:gd name="T30" fmla="*/ 461 w 617"/>
                <a:gd name="T31" fmla="*/ 287 h 1014"/>
                <a:gd name="T32" fmla="*/ 456 w 617"/>
                <a:gd name="T33" fmla="*/ 231 h 1014"/>
                <a:gd name="T34" fmla="*/ 440 w 617"/>
                <a:gd name="T35" fmla="*/ 184 h 1014"/>
                <a:gd name="T36" fmla="*/ 398 w 617"/>
                <a:gd name="T37" fmla="*/ 133 h 1014"/>
                <a:gd name="T38" fmla="*/ 333 w 617"/>
                <a:gd name="T39" fmla="*/ 103 h 1014"/>
                <a:gd name="T40" fmla="*/ 286 w 617"/>
                <a:gd name="T41" fmla="*/ 97 h 1014"/>
                <a:gd name="T42" fmla="*/ 219 w 617"/>
                <a:gd name="T43" fmla="*/ 103 h 1014"/>
                <a:gd name="T44" fmla="*/ 155 w 617"/>
                <a:gd name="T45" fmla="*/ 128 h 1014"/>
                <a:gd name="T46" fmla="*/ 98 w 617"/>
                <a:gd name="T47" fmla="*/ 164 h 1014"/>
                <a:gd name="T48" fmla="*/ 50 w 617"/>
                <a:gd name="T49" fmla="*/ 208 h 1014"/>
                <a:gd name="T50" fmla="*/ 39 w 617"/>
                <a:gd name="T51" fmla="*/ 214 h 1014"/>
                <a:gd name="T52" fmla="*/ 39 w 617"/>
                <a:gd name="T53" fmla="*/ 206 h 1014"/>
                <a:gd name="T54" fmla="*/ 41 w 617"/>
                <a:gd name="T55" fmla="*/ 95 h 1014"/>
                <a:gd name="T56" fmla="*/ 45 w 617"/>
                <a:gd name="T57" fmla="*/ 89 h 1014"/>
                <a:gd name="T58" fmla="*/ 108 w 617"/>
                <a:gd name="T59" fmla="*/ 44 h 1014"/>
                <a:gd name="T60" fmla="*/ 177 w 617"/>
                <a:gd name="T61" fmla="*/ 14 h 1014"/>
                <a:gd name="T62" fmla="*/ 226 w 617"/>
                <a:gd name="T63" fmla="*/ 3 h 1014"/>
                <a:gd name="T64" fmla="*/ 323 w 617"/>
                <a:gd name="T65" fmla="*/ 0 h 1014"/>
                <a:gd name="T66" fmla="*/ 381 w 617"/>
                <a:gd name="T67" fmla="*/ 9 h 1014"/>
                <a:gd name="T68" fmla="*/ 439 w 617"/>
                <a:gd name="T69" fmla="*/ 31 h 1014"/>
                <a:gd name="T70" fmla="*/ 500 w 617"/>
                <a:gd name="T71" fmla="*/ 72 h 1014"/>
                <a:gd name="T72" fmla="*/ 529 w 617"/>
                <a:gd name="T73" fmla="*/ 105 h 1014"/>
                <a:gd name="T74" fmla="*/ 553 w 617"/>
                <a:gd name="T75" fmla="*/ 145 h 1014"/>
                <a:gd name="T76" fmla="*/ 565 w 617"/>
                <a:gd name="T77" fmla="*/ 176 h 1014"/>
                <a:gd name="T78" fmla="*/ 576 w 617"/>
                <a:gd name="T79" fmla="*/ 228 h 1014"/>
                <a:gd name="T80" fmla="*/ 578 w 617"/>
                <a:gd name="T81" fmla="*/ 298 h 1014"/>
                <a:gd name="T82" fmla="*/ 570 w 617"/>
                <a:gd name="T83" fmla="*/ 355 h 1014"/>
                <a:gd name="T84" fmla="*/ 553 w 617"/>
                <a:gd name="T85" fmla="*/ 408 h 1014"/>
                <a:gd name="T86" fmla="*/ 520 w 617"/>
                <a:gd name="T87" fmla="*/ 472 h 1014"/>
                <a:gd name="T88" fmla="*/ 447 w 617"/>
                <a:gd name="T89" fmla="*/ 555 h 1014"/>
                <a:gd name="T90" fmla="*/ 381 w 617"/>
                <a:gd name="T91" fmla="*/ 608 h 1014"/>
                <a:gd name="T92" fmla="*/ 256 w 617"/>
                <a:gd name="T93" fmla="*/ 700 h 1014"/>
                <a:gd name="T94" fmla="*/ 203 w 617"/>
                <a:gd name="T95" fmla="*/ 744 h 1014"/>
                <a:gd name="T96" fmla="*/ 159 w 617"/>
                <a:gd name="T97" fmla="*/ 789 h 1014"/>
                <a:gd name="T98" fmla="*/ 141 w 617"/>
                <a:gd name="T99" fmla="*/ 817 h 1014"/>
                <a:gd name="T100" fmla="*/ 122 w 617"/>
                <a:gd name="T101" fmla="*/ 875 h 1014"/>
                <a:gd name="T102" fmla="*/ 120 w 617"/>
                <a:gd name="T103" fmla="*/ 906 h 1014"/>
                <a:gd name="T104" fmla="*/ 131 w 617"/>
                <a:gd name="T105" fmla="*/ 911 h 1014"/>
                <a:gd name="T106" fmla="*/ 142 w 617"/>
                <a:gd name="T107" fmla="*/ 911 h 1014"/>
                <a:gd name="T108" fmla="*/ 611 w 617"/>
                <a:gd name="T109" fmla="*/ 911 h 1014"/>
                <a:gd name="T110" fmla="*/ 617 w 617"/>
                <a:gd name="T111" fmla="*/ 926 h 1014"/>
                <a:gd name="T112" fmla="*/ 617 w 617"/>
                <a:gd name="T113" fmla="*/ 1000 h 1014"/>
                <a:gd name="T114" fmla="*/ 615 w 617"/>
                <a:gd name="T115" fmla="*/ 101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7" h="1014">
                  <a:moveTo>
                    <a:pt x="615" y="1014"/>
                  </a:moveTo>
                  <a:lnTo>
                    <a:pt x="615" y="1014"/>
                  </a:lnTo>
                  <a:lnTo>
                    <a:pt x="608" y="1014"/>
                  </a:lnTo>
                  <a:lnTo>
                    <a:pt x="600" y="1014"/>
                  </a:lnTo>
                  <a:lnTo>
                    <a:pt x="600" y="1014"/>
                  </a:lnTo>
                  <a:lnTo>
                    <a:pt x="17" y="1014"/>
                  </a:lnTo>
                  <a:lnTo>
                    <a:pt x="17" y="1014"/>
                  </a:lnTo>
                  <a:lnTo>
                    <a:pt x="6" y="1014"/>
                  </a:lnTo>
                  <a:lnTo>
                    <a:pt x="6" y="1014"/>
                  </a:lnTo>
                  <a:lnTo>
                    <a:pt x="2" y="1014"/>
                  </a:lnTo>
                  <a:lnTo>
                    <a:pt x="0" y="1012"/>
                  </a:lnTo>
                  <a:lnTo>
                    <a:pt x="0" y="1009"/>
                  </a:lnTo>
                  <a:lnTo>
                    <a:pt x="0" y="1009"/>
                  </a:lnTo>
                  <a:lnTo>
                    <a:pt x="0" y="972"/>
                  </a:lnTo>
                  <a:lnTo>
                    <a:pt x="2" y="936"/>
                  </a:lnTo>
                  <a:lnTo>
                    <a:pt x="5" y="898"/>
                  </a:lnTo>
                  <a:lnTo>
                    <a:pt x="6" y="881"/>
                  </a:lnTo>
                  <a:lnTo>
                    <a:pt x="11" y="862"/>
                  </a:lnTo>
                  <a:lnTo>
                    <a:pt x="11" y="862"/>
                  </a:lnTo>
                  <a:lnTo>
                    <a:pt x="17" y="841"/>
                  </a:lnTo>
                  <a:lnTo>
                    <a:pt x="25" y="820"/>
                  </a:lnTo>
                  <a:lnTo>
                    <a:pt x="34" y="801"/>
                  </a:lnTo>
                  <a:lnTo>
                    <a:pt x="44" y="783"/>
                  </a:lnTo>
                  <a:lnTo>
                    <a:pt x="56" y="764"/>
                  </a:lnTo>
                  <a:lnTo>
                    <a:pt x="69" y="747"/>
                  </a:lnTo>
                  <a:lnTo>
                    <a:pt x="83" y="730"/>
                  </a:lnTo>
                  <a:lnTo>
                    <a:pt x="98" y="714"/>
                  </a:lnTo>
                  <a:lnTo>
                    <a:pt x="98" y="714"/>
                  </a:lnTo>
                  <a:lnTo>
                    <a:pt x="131" y="681"/>
                  </a:lnTo>
                  <a:lnTo>
                    <a:pt x="167" y="651"/>
                  </a:lnTo>
                  <a:lnTo>
                    <a:pt x="203" y="623"/>
                  </a:lnTo>
                  <a:lnTo>
                    <a:pt x="241" y="595"/>
                  </a:lnTo>
                  <a:lnTo>
                    <a:pt x="241" y="595"/>
                  </a:lnTo>
                  <a:lnTo>
                    <a:pt x="303" y="548"/>
                  </a:lnTo>
                  <a:lnTo>
                    <a:pt x="333" y="525"/>
                  </a:lnTo>
                  <a:lnTo>
                    <a:pt x="361" y="498"/>
                  </a:lnTo>
                  <a:lnTo>
                    <a:pt x="361" y="498"/>
                  </a:lnTo>
                  <a:lnTo>
                    <a:pt x="378" y="481"/>
                  </a:lnTo>
                  <a:lnTo>
                    <a:pt x="392" y="464"/>
                  </a:lnTo>
                  <a:lnTo>
                    <a:pt x="406" y="447"/>
                  </a:lnTo>
                  <a:lnTo>
                    <a:pt x="420" y="428"/>
                  </a:lnTo>
                  <a:lnTo>
                    <a:pt x="431" y="409"/>
                  </a:lnTo>
                  <a:lnTo>
                    <a:pt x="440" y="389"/>
                  </a:lnTo>
                  <a:lnTo>
                    <a:pt x="448" y="367"/>
                  </a:lnTo>
                  <a:lnTo>
                    <a:pt x="455" y="344"/>
                  </a:lnTo>
                  <a:lnTo>
                    <a:pt x="455" y="344"/>
                  </a:lnTo>
                  <a:lnTo>
                    <a:pt x="459" y="316"/>
                  </a:lnTo>
                  <a:lnTo>
                    <a:pt x="461" y="287"/>
                  </a:lnTo>
                  <a:lnTo>
                    <a:pt x="461" y="259"/>
                  </a:lnTo>
                  <a:lnTo>
                    <a:pt x="459" y="245"/>
                  </a:lnTo>
                  <a:lnTo>
                    <a:pt x="456" y="231"/>
                  </a:lnTo>
                  <a:lnTo>
                    <a:pt x="456" y="231"/>
                  </a:lnTo>
                  <a:lnTo>
                    <a:pt x="450" y="206"/>
                  </a:lnTo>
                  <a:lnTo>
                    <a:pt x="440" y="184"/>
                  </a:lnTo>
                  <a:lnTo>
                    <a:pt x="428" y="164"/>
                  </a:lnTo>
                  <a:lnTo>
                    <a:pt x="414" y="147"/>
                  </a:lnTo>
                  <a:lnTo>
                    <a:pt x="398" y="133"/>
                  </a:lnTo>
                  <a:lnTo>
                    <a:pt x="378" y="120"/>
                  </a:lnTo>
                  <a:lnTo>
                    <a:pt x="356" y="111"/>
                  </a:lnTo>
                  <a:lnTo>
                    <a:pt x="333" y="103"/>
                  </a:lnTo>
                  <a:lnTo>
                    <a:pt x="333" y="103"/>
                  </a:lnTo>
                  <a:lnTo>
                    <a:pt x="309" y="98"/>
                  </a:lnTo>
                  <a:lnTo>
                    <a:pt x="286" y="97"/>
                  </a:lnTo>
                  <a:lnTo>
                    <a:pt x="264" y="97"/>
                  </a:lnTo>
                  <a:lnTo>
                    <a:pt x="241" y="100"/>
                  </a:lnTo>
                  <a:lnTo>
                    <a:pt x="219" y="103"/>
                  </a:lnTo>
                  <a:lnTo>
                    <a:pt x="198" y="111"/>
                  </a:lnTo>
                  <a:lnTo>
                    <a:pt x="177" y="119"/>
                  </a:lnTo>
                  <a:lnTo>
                    <a:pt x="155" y="128"/>
                  </a:lnTo>
                  <a:lnTo>
                    <a:pt x="155" y="128"/>
                  </a:lnTo>
                  <a:lnTo>
                    <a:pt x="127" y="145"/>
                  </a:lnTo>
                  <a:lnTo>
                    <a:pt x="98" y="164"/>
                  </a:lnTo>
                  <a:lnTo>
                    <a:pt x="73" y="184"/>
                  </a:lnTo>
                  <a:lnTo>
                    <a:pt x="50" y="208"/>
                  </a:lnTo>
                  <a:lnTo>
                    <a:pt x="50" y="208"/>
                  </a:lnTo>
                  <a:lnTo>
                    <a:pt x="42" y="216"/>
                  </a:lnTo>
                  <a:lnTo>
                    <a:pt x="42" y="216"/>
                  </a:lnTo>
                  <a:lnTo>
                    <a:pt x="39" y="214"/>
                  </a:lnTo>
                  <a:lnTo>
                    <a:pt x="39" y="211"/>
                  </a:lnTo>
                  <a:lnTo>
                    <a:pt x="39" y="206"/>
                  </a:lnTo>
                  <a:lnTo>
                    <a:pt x="39" y="206"/>
                  </a:lnTo>
                  <a:lnTo>
                    <a:pt x="39" y="105"/>
                  </a:lnTo>
                  <a:lnTo>
                    <a:pt x="39" y="105"/>
                  </a:lnTo>
                  <a:lnTo>
                    <a:pt x="41" y="95"/>
                  </a:lnTo>
                  <a:lnTo>
                    <a:pt x="42" y="92"/>
                  </a:lnTo>
                  <a:lnTo>
                    <a:pt x="45" y="89"/>
                  </a:lnTo>
                  <a:lnTo>
                    <a:pt x="45" y="89"/>
                  </a:lnTo>
                  <a:lnTo>
                    <a:pt x="66" y="72"/>
                  </a:lnTo>
                  <a:lnTo>
                    <a:pt x="86" y="56"/>
                  </a:lnTo>
                  <a:lnTo>
                    <a:pt x="108" y="44"/>
                  </a:lnTo>
                  <a:lnTo>
                    <a:pt x="130" y="31"/>
                  </a:lnTo>
                  <a:lnTo>
                    <a:pt x="152" y="22"/>
                  </a:lnTo>
                  <a:lnTo>
                    <a:pt x="177" y="14"/>
                  </a:lnTo>
                  <a:lnTo>
                    <a:pt x="200" y="8"/>
                  </a:lnTo>
                  <a:lnTo>
                    <a:pt x="226" y="3"/>
                  </a:lnTo>
                  <a:lnTo>
                    <a:pt x="226" y="3"/>
                  </a:lnTo>
                  <a:lnTo>
                    <a:pt x="266" y="0"/>
                  </a:lnTo>
                  <a:lnTo>
                    <a:pt x="305" y="0"/>
                  </a:lnTo>
                  <a:lnTo>
                    <a:pt x="323" y="0"/>
                  </a:lnTo>
                  <a:lnTo>
                    <a:pt x="342" y="1"/>
                  </a:lnTo>
                  <a:lnTo>
                    <a:pt x="362" y="5"/>
                  </a:lnTo>
                  <a:lnTo>
                    <a:pt x="381" y="9"/>
                  </a:lnTo>
                  <a:lnTo>
                    <a:pt x="381" y="9"/>
                  </a:lnTo>
                  <a:lnTo>
                    <a:pt x="411" y="19"/>
                  </a:lnTo>
                  <a:lnTo>
                    <a:pt x="439" y="31"/>
                  </a:lnTo>
                  <a:lnTo>
                    <a:pt x="465" y="45"/>
                  </a:lnTo>
                  <a:lnTo>
                    <a:pt x="489" y="62"/>
                  </a:lnTo>
                  <a:lnTo>
                    <a:pt x="500" y="72"/>
                  </a:lnTo>
                  <a:lnTo>
                    <a:pt x="511" y="83"/>
                  </a:lnTo>
                  <a:lnTo>
                    <a:pt x="520" y="94"/>
                  </a:lnTo>
                  <a:lnTo>
                    <a:pt x="529" y="105"/>
                  </a:lnTo>
                  <a:lnTo>
                    <a:pt x="537" y="117"/>
                  </a:lnTo>
                  <a:lnTo>
                    <a:pt x="545" y="131"/>
                  </a:lnTo>
                  <a:lnTo>
                    <a:pt x="553" y="145"/>
                  </a:lnTo>
                  <a:lnTo>
                    <a:pt x="559" y="159"/>
                  </a:lnTo>
                  <a:lnTo>
                    <a:pt x="559" y="159"/>
                  </a:lnTo>
                  <a:lnTo>
                    <a:pt x="565" y="176"/>
                  </a:lnTo>
                  <a:lnTo>
                    <a:pt x="570" y="194"/>
                  </a:lnTo>
                  <a:lnTo>
                    <a:pt x="573" y="211"/>
                  </a:lnTo>
                  <a:lnTo>
                    <a:pt x="576" y="228"/>
                  </a:lnTo>
                  <a:lnTo>
                    <a:pt x="578" y="262"/>
                  </a:lnTo>
                  <a:lnTo>
                    <a:pt x="578" y="298"/>
                  </a:lnTo>
                  <a:lnTo>
                    <a:pt x="578" y="298"/>
                  </a:lnTo>
                  <a:lnTo>
                    <a:pt x="576" y="317"/>
                  </a:lnTo>
                  <a:lnTo>
                    <a:pt x="573" y="337"/>
                  </a:lnTo>
                  <a:lnTo>
                    <a:pt x="570" y="355"/>
                  </a:lnTo>
                  <a:lnTo>
                    <a:pt x="565" y="373"/>
                  </a:lnTo>
                  <a:lnTo>
                    <a:pt x="559" y="391"/>
                  </a:lnTo>
                  <a:lnTo>
                    <a:pt x="553" y="408"/>
                  </a:lnTo>
                  <a:lnTo>
                    <a:pt x="547" y="425"/>
                  </a:lnTo>
                  <a:lnTo>
                    <a:pt x="539" y="441"/>
                  </a:lnTo>
                  <a:lnTo>
                    <a:pt x="520" y="472"/>
                  </a:lnTo>
                  <a:lnTo>
                    <a:pt x="498" y="500"/>
                  </a:lnTo>
                  <a:lnTo>
                    <a:pt x="473" y="528"/>
                  </a:lnTo>
                  <a:lnTo>
                    <a:pt x="447" y="555"/>
                  </a:lnTo>
                  <a:lnTo>
                    <a:pt x="447" y="555"/>
                  </a:lnTo>
                  <a:lnTo>
                    <a:pt x="414" y="583"/>
                  </a:lnTo>
                  <a:lnTo>
                    <a:pt x="381" y="608"/>
                  </a:lnTo>
                  <a:lnTo>
                    <a:pt x="312" y="658"/>
                  </a:lnTo>
                  <a:lnTo>
                    <a:pt x="312" y="658"/>
                  </a:lnTo>
                  <a:lnTo>
                    <a:pt x="256" y="700"/>
                  </a:lnTo>
                  <a:lnTo>
                    <a:pt x="230" y="722"/>
                  </a:lnTo>
                  <a:lnTo>
                    <a:pt x="203" y="744"/>
                  </a:lnTo>
                  <a:lnTo>
                    <a:pt x="203" y="744"/>
                  </a:lnTo>
                  <a:lnTo>
                    <a:pt x="187" y="758"/>
                  </a:lnTo>
                  <a:lnTo>
                    <a:pt x="173" y="773"/>
                  </a:lnTo>
                  <a:lnTo>
                    <a:pt x="159" y="789"/>
                  </a:lnTo>
                  <a:lnTo>
                    <a:pt x="148" y="806"/>
                  </a:lnTo>
                  <a:lnTo>
                    <a:pt x="148" y="806"/>
                  </a:lnTo>
                  <a:lnTo>
                    <a:pt x="141" y="817"/>
                  </a:lnTo>
                  <a:lnTo>
                    <a:pt x="136" y="828"/>
                  </a:lnTo>
                  <a:lnTo>
                    <a:pt x="127" y="851"/>
                  </a:lnTo>
                  <a:lnTo>
                    <a:pt x="122" y="875"/>
                  </a:lnTo>
                  <a:lnTo>
                    <a:pt x="120" y="900"/>
                  </a:lnTo>
                  <a:lnTo>
                    <a:pt x="120" y="900"/>
                  </a:lnTo>
                  <a:lnTo>
                    <a:pt x="120" y="906"/>
                  </a:lnTo>
                  <a:lnTo>
                    <a:pt x="122" y="909"/>
                  </a:lnTo>
                  <a:lnTo>
                    <a:pt x="125" y="911"/>
                  </a:lnTo>
                  <a:lnTo>
                    <a:pt x="131" y="911"/>
                  </a:lnTo>
                  <a:lnTo>
                    <a:pt x="131" y="911"/>
                  </a:lnTo>
                  <a:lnTo>
                    <a:pt x="142" y="911"/>
                  </a:lnTo>
                  <a:lnTo>
                    <a:pt x="142" y="911"/>
                  </a:lnTo>
                  <a:lnTo>
                    <a:pt x="600" y="911"/>
                  </a:lnTo>
                  <a:lnTo>
                    <a:pt x="600" y="911"/>
                  </a:lnTo>
                  <a:lnTo>
                    <a:pt x="611" y="911"/>
                  </a:lnTo>
                  <a:lnTo>
                    <a:pt x="615" y="912"/>
                  </a:lnTo>
                  <a:lnTo>
                    <a:pt x="617" y="917"/>
                  </a:lnTo>
                  <a:lnTo>
                    <a:pt x="617" y="926"/>
                  </a:lnTo>
                  <a:lnTo>
                    <a:pt x="617" y="926"/>
                  </a:lnTo>
                  <a:lnTo>
                    <a:pt x="617" y="1000"/>
                  </a:lnTo>
                  <a:lnTo>
                    <a:pt x="617" y="1000"/>
                  </a:lnTo>
                  <a:lnTo>
                    <a:pt x="617" y="1008"/>
                  </a:lnTo>
                  <a:lnTo>
                    <a:pt x="617" y="1011"/>
                  </a:lnTo>
                  <a:lnTo>
                    <a:pt x="615" y="1014"/>
                  </a:lnTo>
                  <a:lnTo>
                    <a:pt x="615" y="1014"/>
                  </a:lnTo>
                  <a:close/>
                </a:path>
              </a:pathLst>
            </a:custGeom>
            <a:solidFill>
              <a:schemeClr val="accent1">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19"/>
          <p:cNvGrpSpPr/>
          <p:nvPr/>
        </p:nvGrpSpPr>
        <p:grpSpPr>
          <a:xfrm>
            <a:off x="6288368" y="4421889"/>
            <a:ext cx="5484989" cy="561211"/>
            <a:chOff x="6414463" y="4510061"/>
            <a:chExt cx="5594974" cy="572464"/>
          </a:xfrm>
        </p:grpSpPr>
        <p:sp>
          <p:nvSpPr>
            <p:cNvPr id="18" name="TextBox 17"/>
            <p:cNvSpPr txBox="1"/>
            <p:nvPr/>
          </p:nvSpPr>
          <p:spPr>
            <a:xfrm>
              <a:off x="6773543" y="4510061"/>
              <a:ext cx="5235894" cy="572464"/>
            </a:xfrm>
            <a:prstGeom prst="rect">
              <a:avLst/>
            </a:prstGeom>
            <a:solidFill>
              <a:schemeClr val="accent2"/>
            </a:solidFill>
            <a:ln>
              <a:noFill/>
            </a:ln>
          </p:spPr>
          <p:txBody>
            <a:bodyPr wrap="square" lIns="89642" tIns="143428" rIns="44821"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Combine the output from all sub-functions.</a:t>
              </a:r>
            </a:p>
          </p:txBody>
        </p:sp>
        <p:sp>
          <p:nvSpPr>
            <p:cNvPr id="57" name="Freeform 56"/>
            <p:cNvSpPr>
              <a:spLocks/>
            </p:cNvSpPr>
            <p:nvPr/>
          </p:nvSpPr>
          <p:spPr bwMode="auto">
            <a:xfrm>
              <a:off x="6414463" y="4567608"/>
              <a:ext cx="255916" cy="457370"/>
            </a:xfrm>
            <a:custGeom>
              <a:avLst/>
              <a:gdLst>
                <a:gd name="T0" fmla="*/ 37 w 578"/>
                <a:gd name="T1" fmla="*/ 63 h 1033"/>
                <a:gd name="T2" fmla="*/ 47 w 578"/>
                <a:gd name="T3" fmla="*/ 53 h 1033"/>
                <a:gd name="T4" fmla="*/ 151 w 578"/>
                <a:gd name="T5" fmla="*/ 13 h 1033"/>
                <a:gd name="T6" fmla="*/ 222 w 578"/>
                <a:gd name="T7" fmla="*/ 2 h 1033"/>
                <a:gd name="T8" fmla="*/ 317 w 578"/>
                <a:gd name="T9" fmla="*/ 5 h 1033"/>
                <a:gd name="T10" fmla="*/ 398 w 578"/>
                <a:gd name="T11" fmla="*/ 25 h 1033"/>
                <a:gd name="T12" fmla="*/ 470 w 578"/>
                <a:gd name="T13" fmla="*/ 71 h 1033"/>
                <a:gd name="T14" fmla="*/ 525 w 578"/>
                <a:gd name="T15" fmla="*/ 149 h 1033"/>
                <a:gd name="T16" fmla="*/ 540 w 578"/>
                <a:gd name="T17" fmla="*/ 222 h 1033"/>
                <a:gd name="T18" fmla="*/ 532 w 578"/>
                <a:gd name="T19" fmla="*/ 318 h 1033"/>
                <a:gd name="T20" fmla="*/ 512 w 578"/>
                <a:gd name="T21" fmla="*/ 371 h 1033"/>
                <a:gd name="T22" fmla="*/ 451 w 578"/>
                <a:gd name="T23" fmla="*/ 441 h 1033"/>
                <a:gd name="T24" fmla="*/ 390 w 578"/>
                <a:gd name="T25" fmla="*/ 477 h 1033"/>
                <a:gd name="T26" fmla="*/ 353 w 578"/>
                <a:gd name="T27" fmla="*/ 496 h 1033"/>
                <a:gd name="T28" fmla="*/ 395 w 578"/>
                <a:gd name="T29" fmla="*/ 505 h 1033"/>
                <a:gd name="T30" fmla="*/ 468 w 578"/>
                <a:gd name="T31" fmla="*/ 536 h 1033"/>
                <a:gd name="T32" fmla="*/ 514 w 578"/>
                <a:gd name="T33" fmla="*/ 574 h 1033"/>
                <a:gd name="T34" fmla="*/ 557 w 578"/>
                <a:gd name="T35" fmla="*/ 636 h 1033"/>
                <a:gd name="T36" fmla="*/ 576 w 578"/>
                <a:gd name="T37" fmla="*/ 711 h 1033"/>
                <a:gd name="T38" fmla="*/ 572 w 578"/>
                <a:gd name="T39" fmla="*/ 800 h 1033"/>
                <a:gd name="T40" fmla="*/ 522 w 578"/>
                <a:gd name="T41" fmla="*/ 907 h 1033"/>
                <a:gd name="T42" fmla="*/ 475 w 578"/>
                <a:gd name="T43" fmla="*/ 957 h 1033"/>
                <a:gd name="T44" fmla="*/ 411 w 578"/>
                <a:gd name="T45" fmla="*/ 996 h 1033"/>
                <a:gd name="T46" fmla="*/ 353 w 578"/>
                <a:gd name="T47" fmla="*/ 1018 h 1033"/>
                <a:gd name="T48" fmla="*/ 259 w 578"/>
                <a:gd name="T49" fmla="*/ 1033 h 1033"/>
                <a:gd name="T50" fmla="*/ 189 w 578"/>
                <a:gd name="T51" fmla="*/ 1033 h 1033"/>
                <a:gd name="T52" fmla="*/ 64 w 578"/>
                <a:gd name="T53" fmla="*/ 1010 h 1033"/>
                <a:gd name="T54" fmla="*/ 8 w 578"/>
                <a:gd name="T55" fmla="*/ 985 h 1033"/>
                <a:gd name="T56" fmla="*/ 0 w 578"/>
                <a:gd name="T57" fmla="*/ 971 h 1033"/>
                <a:gd name="T58" fmla="*/ 3 w 578"/>
                <a:gd name="T59" fmla="*/ 858 h 1033"/>
                <a:gd name="T60" fmla="*/ 36 w 578"/>
                <a:gd name="T61" fmla="*/ 882 h 1033"/>
                <a:gd name="T62" fmla="*/ 156 w 578"/>
                <a:gd name="T63" fmla="*/ 928 h 1033"/>
                <a:gd name="T64" fmla="*/ 253 w 578"/>
                <a:gd name="T65" fmla="*/ 935 h 1033"/>
                <a:gd name="T66" fmla="*/ 342 w 578"/>
                <a:gd name="T67" fmla="*/ 916 h 1033"/>
                <a:gd name="T68" fmla="*/ 392 w 578"/>
                <a:gd name="T69" fmla="*/ 888 h 1033"/>
                <a:gd name="T70" fmla="*/ 428 w 578"/>
                <a:gd name="T71" fmla="*/ 850 h 1033"/>
                <a:gd name="T72" fmla="*/ 457 w 578"/>
                <a:gd name="T73" fmla="*/ 782 h 1033"/>
                <a:gd name="T74" fmla="*/ 456 w 578"/>
                <a:gd name="T75" fmla="*/ 702 h 1033"/>
                <a:gd name="T76" fmla="*/ 443 w 578"/>
                <a:gd name="T77" fmla="*/ 660 h 1033"/>
                <a:gd name="T78" fmla="*/ 401 w 578"/>
                <a:gd name="T79" fmla="*/ 607 h 1033"/>
                <a:gd name="T80" fmla="*/ 358 w 578"/>
                <a:gd name="T81" fmla="*/ 578 h 1033"/>
                <a:gd name="T82" fmla="*/ 244 w 578"/>
                <a:gd name="T83" fmla="*/ 552 h 1033"/>
                <a:gd name="T84" fmla="*/ 114 w 578"/>
                <a:gd name="T85" fmla="*/ 549 h 1033"/>
                <a:gd name="T86" fmla="*/ 100 w 578"/>
                <a:gd name="T87" fmla="*/ 544 h 1033"/>
                <a:gd name="T88" fmla="*/ 100 w 578"/>
                <a:gd name="T89" fmla="*/ 461 h 1033"/>
                <a:gd name="T90" fmla="*/ 111 w 578"/>
                <a:gd name="T91" fmla="*/ 450 h 1033"/>
                <a:gd name="T92" fmla="*/ 222 w 578"/>
                <a:gd name="T93" fmla="*/ 450 h 1033"/>
                <a:gd name="T94" fmla="*/ 311 w 578"/>
                <a:gd name="T95" fmla="*/ 432 h 1033"/>
                <a:gd name="T96" fmla="*/ 389 w 578"/>
                <a:gd name="T97" fmla="*/ 380 h 1033"/>
                <a:gd name="T98" fmla="*/ 423 w 578"/>
                <a:gd name="T99" fmla="*/ 291 h 1033"/>
                <a:gd name="T100" fmla="*/ 422 w 578"/>
                <a:gd name="T101" fmla="*/ 235 h 1033"/>
                <a:gd name="T102" fmla="*/ 406 w 578"/>
                <a:gd name="T103" fmla="*/ 178 h 1033"/>
                <a:gd name="T104" fmla="*/ 358 w 578"/>
                <a:gd name="T105" fmla="*/ 127 h 1033"/>
                <a:gd name="T106" fmla="*/ 297 w 578"/>
                <a:gd name="T107" fmla="*/ 103 h 1033"/>
                <a:gd name="T108" fmla="*/ 192 w 578"/>
                <a:gd name="T109" fmla="*/ 102 h 1033"/>
                <a:gd name="T110" fmla="*/ 115 w 578"/>
                <a:gd name="T111" fmla="*/ 124 h 1033"/>
                <a:gd name="T112" fmla="*/ 37 w 578"/>
                <a:gd name="T113" fmla="*/ 169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8" h="1033">
                  <a:moveTo>
                    <a:pt x="37" y="169"/>
                  </a:moveTo>
                  <a:lnTo>
                    <a:pt x="37" y="169"/>
                  </a:lnTo>
                  <a:lnTo>
                    <a:pt x="37" y="63"/>
                  </a:lnTo>
                  <a:lnTo>
                    <a:pt x="37" y="63"/>
                  </a:lnTo>
                  <a:lnTo>
                    <a:pt x="39" y="60"/>
                  </a:lnTo>
                  <a:lnTo>
                    <a:pt x="40" y="57"/>
                  </a:lnTo>
                  <a:lnTo>
                    <a:pt x="47" y="53"/>
                  </a:lnTo>
                  <a:lnTo>
                    <a:pt x="47" y="53"/>
                  </a:lnTo>
                  <a:lnTo>
                    <a:pt x="72" y="41"/>
                  </a:lnTo>
                  <a:lnTo>
                    <a:pt x="97" y="30"/>
                  </a:lnTo>
                  <a:lnTo>
                    <a:pt x="123" y="21"/>
                  </a:lnTo>
                  <a:lnTo>
                    <a:pt x="151" y="13"/>
                  </a:lnTo>
                  <a:lnTo>
                    <a:pt x="151" y="13"/>
                  </a:lnTo>
                  <a:lnTo>
                    <a:pt x="175" y="8"/>
                  </a:lnTo>
                  <a:lnTo>
                    <a:pt x="198" y="5"/>
                  </a:lnTo>
                  <a:lnTo>
                    <a:pt x="222" y="2"/>
                  </a:lnTo>
                  <a:lnTo>
                    <a:pt x="245" y="0"/>
                  </a:lnTo>
                  <a:lnTo>
                    <a:pt x="270" y="0"/>
                  </a:lnTo>
                  <a:lnTo>
                    <a:pt x="293" y="2"/>
                  </a:lnTo>
                  <a:lnTo>
                    <a:pt x="317" y="5"/>
                  </a:lnTo>
                  <a:lnTo>
                    <a:pt x="342" y="8"/>
                  </a:lnTo>
                  <a:lnTo>
                    <a:pt x="342" y="8"/>
                  </a:lnTo>
                  <a:lnTo>
                    <a:pt x="370" y="16"/>
                  </a:lnTo>
                  <a:lnTo>
                    <a:pt x="398" y="25"/>
                  </a:lnTo>
                  <a:lnTo>
                    <a:pt x="425" y="39"/>
                  </a:lnTo>
                  <a:lnTo>
                    <a:pt x="450" y="55"/>
                  </a:lnTo>
                  <a:lnTo>
                    <a:pt x="450" y="55"/>
                  </a:lnTo>
                  <a:lnTo>
                    <a:pt x="470" y="71"/>
                  </a:lnTo>
                  <a:lnTo>
                    <a:pt x="487" y="89"/>
                  </a:lnTo>
                  <a:lnTo>
                    <a:pt x="503" y="108"/>
                  </a:lnTo>
                  <a:lnTo>
                    <a:pt x="515" y="128"/>
                  </a:lnTo>
                  <a:lnTo>
                    <a:pt x="525" y="149"/>
                  </a:lnTo>
                  <a:lnTo>
                    <a:pt x="532" y="172"/>
                  </a:lnTo>
                  <a:lnTo>
                    <a:pt x="539" y="196"/>
                  </a:lnTo>
                  <a:lnTo>
                    <a:pt x="540" y="222"/>
                  </a:lnTo>
                  <a:lnTo>
                    <a:pt x="540" y="222"/>
                  </a:lnTo>
                  <a:lnTo>
                    <a:pt x="542" y="253"/>
                  </a:lnTo>
                  <a:lnTo>
                    <a:pt x="539" y="286"/>
                  </a:lnTo>
                  <a:lnTo>
                    <a:pt x="536" y="302"/>
                  </a:lnTo>
                  <a:lnTo>
                    <a:pt x="532" y="318"/>
                  </a:lnTo>
                  <a:lnTo>
                    <a:pt x="528" y="333"/>
                  </a:lnTo>
                  <a:lnTo>
                    <a:pt x="523" y="349"/>
                  </a:lnTo>
                  <a:lnTo>
                    <a:pt x="523" y="349"/>
                  </a:lnTo>
                  <a:lnTo>
                    <a:pt x="512" y="371"/>
                  </a:lnTo>
                  <a:lnTo>
                    <a:pt x="500" y="391"/>
                  </a:lnTo>
                  <a:lnTo>
                    <a:pt x="486" y="410"/>
                  </a:lnTo>
                  <a:lnTo>
                    <a:pt x="470" y="425"/>
                  </a:lnTo>
                  <a:lnTo>
                    <a:pt x="451" y="441"/>
                  </a:lnTo>
                  <a:lnTo>
                    <a:pt x="432" y="455"/>
                  </a:lnTo>
                  <a:lnTo>
                    <a:pt x="412" y="466"/>
                  </a:lnTo>
                  <a:lnTo>
                    <a:pt x="390" y="477"/>
                  </a:lnTo>
                  <a:lnTo>
                    <a:pt x="390" y="477"/>
                  </a:lnTo>
                  <a:lnTo>
                    <a:pt x="367" y="485"/>
                  </a:lnTo>
                  <a:lnTo>
                    <a:pt x="343" y="494"/>
                  </a:lnTo>
                  <a:lnTo>
                    <a:pt x="343" y="494"/>
                  </a:lnTo>
                  <a:lnTo>
                    <a:pt x="353" y="496"/>
                  </a:lnTo>
                  <a:lnTo>
                    <a:pt x="361" y="497"/>
                  </a:lnTo>
                  <a:lnTo>
                    <a:pt x="376" y="500"/>
                  </a:lnTo>
                  <a:lnTo>
                    <a:pt x="376" y="500"/>
                  </a:lnTo>
                  <a:lnTo>
                    <a:pt x="395" y="505"/>
                  </a:lnTo>
                  <a:lnTo>
                    <a:pt x="415" y="511"/>
                  </a:lnTo>
                  <a:lnTo>
                    <a:pt x="432" y="518"/>
                  </a:lnTo>
                  <a:lnTo>
                    <a:pt x="451" y="527"/>
                  </a:lnTo>
                  <a:lnTo>
                    <a:pt x="468" y="536"/>
                  </a:lnTo>
                  <a:lnTo>
                    <a:pt x="484" y="547"/>
                  </a:lnTo>
                  <a:lnTo>
                    <a:pt x="500" y="560"/>
                  </a:lnTo>
                  <a:lnTo>
                    <a:pt x="514" y="574"/>
                  </a:lnTo>
                  <a:lnTo>
                    <a:pt x="514" y="574"/>
                  </a:lnTo>
                  <a:lnTo>
                    <a:pt x="528" y="588"/>
                  </a:lnTo>
                  <a:lnTo>
                    <a:pt x="539" y="603"/>
                  </a:lnTo>
                  <a:lnTo>
                    <a:pt x="550" y="619"/>
                  </a:lnTo>
                  <a:lnTo>
                    <a:pt x="557" y="636"/>
                  </a:lnTo>
                  <a:lnTo>
                    <a:pt x="565" y="653"/>
                  </a:lnTo>
                  <a:lnTo>
                    <a:pt x="570" y="672"/>
                  </a:lnTo>
                  <a:lnTo>
                    <a:pt x="575" y="691"/>
                  </a:lnTo>
                  <a:lnTo>
                    <a:pt x="576" y="711"/>
                  </a:lnTo>
                  <a:lnTo>
                    <a:pt x="576" y="711"/>
                  </a:lnTo>
                  <a:lnTo>
                    <a:pt x="578" y="743"/>
                  </a:lnTo>
                  <a:lnTo>
                    <a:pt x="576" y="772"/>
                  </a:lnTo>
                  <a:lnTo>
                    <a:pt x="572" y="800"/>
                  </a:lnTo>
                  <a:lnTo>
                    <a:pt x="564" y="828"/>
                  </a:lnTo>
                  <a:lnTo>
                    <a:pt x="553" y="857"/>
                  </a:lnTo>
                  <a:lnTo>
                    <a:pt x="539" y="882"/>
                  </a:lnTo>
                  <a:lnTo>
                    <a:pt x="522" y="907"/>
                  </a:lnTo>
                  <a:lnTo>
                    <a:pt x="503" y="932"/>
                  </a:lnTo>
                  <a:lnTo>
                    <a:pt x="503" y="932"/>
                  </a:lnTo>
                  <a:lnTo>
                    <a:pt x="489" y="944"/>
                  </a:lnTo>
                  <a:lnTo>
                    <a:pt x="475" y="957"/>
                  </a:lnTo>
                  <a:lnTo>
                    <a:pt x="459" y="968"/>
                  </a:lnTo>
                  <a:lnTo>
                    <a:pt x="443" y="978"/>
                  </a:lnTo>
                  <a:lnTo>
                    <a:pt x="428" y="988"/>
                  </a:lnTo>
                  <a:lnTo>
                    <a:pt x="411" y="996"/>
                  </a:lnTo>
                  <a:lnTo>
                    <a:pt x="393" y="1003"/>
                  </a:lnTo>
                  <a:lnTo>
                    <a:pt x="375" y="1010"/>
                  </a:lnTo>
                  <a:lnTo>
                    <a:pt x="375" y="1010"/>
                  </a:lnTo>
                  <a:lnTo>
                    <a:pt x="353" y="1018"/>
                  </a:lnTo>
                  <a:lnTo>
                    <a:pt x="329" y="1024"/>
                  </a:lnTo>
                  <a:lnTo>
                    <a:pt x="306" y="1027"/>
                  </a:lnTo>
                  <a:lnTo>
                    <a:pt x="283" y="1030"/>
                  </a:lnTo>
                  <a:lnTo>
                    <a:pt x="259" y="1033"/>
                  </a:lnTo>
                  <a:lnTo>
                    <a:pt x="236" y="1033"/>
                  </a:lnTo>
                  <a:lnTo>
                    <a:pt x="212" y="1033"/>
                  </a:lnTo>
                  <a:lnTo>
                    <a:pt x="189" y="1033"/>
                  </a:lnTo>
                  <a:lnTo>
                    <a:pt x="189" y="1033"/>
                  </a:lnTo>
                  <a:lnTo>
                    <a:pt x="158" y="1030"/>
                  </a:lnTo>
                  <a:lnTo>
                    <a:pt x="126" y="1025"/>
                  </a:lnTo>
                  <a:lnTo>
                    <a:pt x="95" y="1019"/>
                  </a:lnTo>
                  <a:lnTo>
                    <a:pt x="64" y="1010"/>
                  </a:lnTo>
                  <a:lnTo>
                    <a:pt x="64" y="1010"/>
                  </a:lnTo>
                  <a:lnTo>
                    <a:pt x="36" y="999"/>
                  </a:lnTo>
                  <a:lnTo>
                    <a:pt x="8" y="985"/>
                  </a:lnTo>
                  <a:lnTo>
                    <a:pt x="8" y="985"/>
                  </a:lnTo>
                  <a:lnTo>
                    <a:pt x="3" y="982"/>
                  </a:lnTo>
                  <a:lnTo>
                    <a:pt x="1" y="978"/>
                  </a:lnTo>
                  <a:lnTo>
                    <a:pt x="0" y="975"/>
                  </a:lnTo>
                  <a:lnTo>
                    <a:pt x="0" y="971"/>
                  </a:lnTo>
                  <a:lnTo>
                    <a:pt x="0" y="971"/>
                  </a:lnTo>
                  <a:lnTo>
                    <a:pt x="0" y="860"/>
                  </a:lnTo>
                  <a:lnTo>
                    <a:pt x="0" y="860"/>
                  </a:lnTo>
                  <a:lnTo>
                    <a:pt x="3" y="858"/>
                  </a:lnTo>
                  <a:lnTo>
                    <a:pt x="5" y="860"/>
                  </a:lnTo>
                  <a:lnTo>
                    <a:pt x="9" y="863"/>
                  </a:lnTo>
                  <a:lnTo>
                    <a:pt x="9" y="863"/>
                  </a:lnTo>
                  <a:lnTo>
                    <a:pt x="36" y="882"/>
                  </a:lnTo>
                  <a:lnTo>
                    <a:pt x="65" y="897"/>
                  </a:lnTo>
                  <a:lnTo>
                    <a:pt x="94" y="910"/>
                  </a:lnTo>
                  <a:lnTo>
                    <a:pt x="125" y="921"/>
                  </a:lnTo>
                  <a:lnTo>
                    <a:pt x="156" y="928"/>
                  </a:lnTo>
                  <a:lnTo>
                    <a:pt x="187" y="933"/>
                  </a:lnTo>
                  <a:lnTo>
                    <a:pt x="220" y="935"/>
                  </a:lnTo>
                  <a:lnTo>
                    <a:pt x="253" y="935"/>
                  </a:lnTo>
                  <a:lnTo>
                    <a:pt x="253" y="935"/>
                  </a:lnTo>
                  <a:lnTo>
                    <a:pt x="283" y="932"/>
                  </a:lnTo>
                  <a:lnTo>
                    <a:pt x="312" y="925"/>
                  </a:lnTo>
                  <a:lnTo>
                    <a:pt x="328" y="922"/>
                  </a:lnTo>
                  <a:lnTo>
                    <a:pt x="342" y="916"/>
                  </a:lnTo>
                  <a:lnTo>
                    <a:pt x="356" y="910"/>
                  </a:lnTo>
                  <a:lnTo>
                    <a:pt x="368" y="903"/>
                  </a:lnTo>
                  <a:lnTo>
                    <a:pt x="368" y="903"/>
                  </a:lnTo>
                  <a:lnTo>
                    <a:pt x="392" y="888"/>
                  </a:lnTo>
                  <a:lnTo>
                    <a:pt x="403" y="878"/>
                  </a:lnTo>
                  <a:lnTo>
                    <a:pt x="412" y="871"/>
                  </a:lnTo>
                  <a:lnTo>
                    <a:pt x="420" y="861"/>
                  </a:lnTo>
                  <a:lnTo>
                    <a:pt x="428" y="850"/>
                  </a:lnTo>
                  <a:lnTo>
                    <a:pt x="436" y="841"/>
                  </a:lnTo>
                  <a:lnTo>
                    <a:pt x="442" y="830"/>
                  </a:lnTo>
                  <a:lnTo>
                    <a:pt x="451" y="807"/>
                  </a:lnTo>
                  <a:lnTo>
                    <a:pt x="457" y="782"/>
                  </a:lnTo>
                  <a:lnTo>
                    <a:pt x="459" y="755"/>
                  </a:lnTo>
                  <a:lnTo>
                    <a:pt x="459" y="727"/>
                  </a:lnTo>
                  <a:lnTo>
                    <a:pt x="459" y="727"/>
                  </a:lnTo>
                  <a:lnTo>
                    <a:pt x="456" y="702"/>
                  </a:lnTo>
                  <a:lnTo>
                    <a:pt x="454" y="689"/>
                  </a:lnTo>
                  <a:lnTo>
                    <a:pt x="450" y="677"/>
                  </a:lnTo>
                  <a:lnTo>
                    <a:pt x="450" y="677"/>
                  </a:lnTo>
                  <a:lnTo>
                    <a:pt x="443" y="660"/>
                  </a:lnTo>
                  <a:lnTo>
                    <a:pt x="436" y="644"/>
                  </a:lnTo>
                  <a:lnTo>
                    <a:pt x="425" y="630"/>
                  </a:lnTo>
                  <a:lnTo>
                    <a:pt x="414" y="618"/>
                  </a:lnTo>
                  <a:lnTo>
                    <a:pt x="401" y="607"/>
                  </a:lnTo>
                  <a:lnTo>
                    <a:pt x="389" y="596"/>
                  </a:lnTo>
                  <a:lnTo>
                    <a:pt x="373" y="586"/>
                  </a:lnTo>
                  <a:lnTo>
                    <a:pt x="358" y="578"/>
                  </a:lnTo>
                  <a:lnTo>
                    <a:pt x="358" y="578"/>
                  </a:lnTo>
                  <a:lnTo>
                    <a:pt x="331" y="569"/>
                  </a:lnTo>
                  <a:lnTo>
                    <a:pt x="301" y="561"/>
                  </a:lnTo>
                  <a:lnTo>
                    <a:pt x="273" y="555"/>
                  </a:lnTo>
                  <a:lnTo>
                    <a:pt x="244" y="552"/>
                  </a:lnTo>
                  <a:lnTo>
                    <a:pt x="244" y="552"/>
                  </a:lnTo>
                  <a:lnTo>
                    <a:pt x="211" y="549"/>
                  </a:lnTo>
                  <a:lnTo>
                    <a:pt x="178" y="549"/>
                  </a:lnTo>
                  <a:lnTo>
                    <a:pt x="114" y="549"/>
                  </a:lnTo>
                  <a:lnTo>
                    <a:pt x="114" y="549"/>
                  </a:lnTo>
                  <a:lnTo>
                    <a:pt x="104" y="549"/>
                  </a:lnTo>
                  <a:lnTo>
                    <a:pt x="101" y="547"/>
                  </a:lnTo>
                  <a:lnTo>
                    <a:pt x="100" y="544"/>
                  </a:lnTo>
                  <a:lnTo>
                    <a:pt x="100" y="535"/>
                  </a:lnTo>
                  <a:lnTo>
                    <a:pt x="100" y="535"/>
                  </a:lnTo>
                  <a:lnTo>
                    <a:pt x="100" y="461"/>
                  </a:lnTo>
                  <a:lnTo>
                    <a:pt x="100" y="461"/>
                  </a:lnTo>
                  <a:lnTo>
                    <a:pt x="100" y="455"/>
                  </a:lnTo>
                  <a:lnTo>
                    <a:pt x="101" y="452"/>
                  </a:lnTo>
                  <a:lnTo>
                    <a:pt x="104" y="452"/>
                  </a:lnTo>
                  <a:lnTo>
                    <a:pt x="111" y="450"/>
                  </a:lnTo>
                  <a:lnTo>
                    <a:pt x="111" y="450"/>
                  </a:lnTo>
                  <a:lnTo>
                    <a:pt x="192" y="450"/>
                  </a:lnTo>
                  <a:lnTo>
                    <a:pt x="192" y="450"/>
                  </a:lnTo>
                  <a:lnTo>
                    <a:pt x="222" y="450"/>
                  </a:lnTo>
                  <a:lnTo>
                    <a:pt x="251" y="446"/>
                  </a:lnTo>
                  <a:lnTo>
                    <a:pt x="281" y="441"/>
                  </a:lnTo>
                  <a:lnTo>
                    <a:pt x="311" y="432"/>
                  </a:lnTo>
                  <a:lnTo>
                    <a:pt x="311" y="432"/>
                  </a:lnTo>
                  <a:lnTo>
                    <a:pt x="334" y="422"/>
                  </a:lnTo>
                  <a:lnTo>
                    <a:pt x="354" y="410"/>
                  </a:lnTo>
                  <a:lnTo>
                    <a:pt x="373" y="396"/>
                  </a:lnTo>
                  <a:lnTo>
                    <a:pt x="389" y="380"/>
                  </a:lnTo>
                  <a:lnTo>
                    <a:pt x="401" y="361"/>
                  </a:lnTo>
                  <a:lnTo>
                    <a:pt x="412" y="341"/>
                  </a:lnTo>
                  <a:lnTo>
                    <a:pt x="418" y="318"/>
                  </a:lnTo>
                  <a:lnTo>
                    <a:pt x="423" y="291"/>
                  </a:lnTo>
                  <a:lnTo>
                    <a:pt x="423" y="291"/>
                  </a:lnTo>
                  <a:lnTo>
                    <a:pt x="425" y="272"/>
                  </a:lnTo>
                  <a:lnTo>
                    <a:pt x="423" y="253"/>
                  </a:lnTo>
                  <a:lnTo>
                    <a:pt x="422" y="235"/>
                  </a:lnTo>
                  <a:lnTo>
                    <a:pt x="418" y="216"/>
                  </a:lnTo>
                  <a:lnTo>
                    <a:pt x="418" y="216"/>
                  </a:lnTo>
                  <a:lnTo>
                    <a:pt x="414" y="197"/>
                  </a:lnTo>
                  <a:lnTo>
                    <a:pt x="406" y="178"/>
                  </a:lnTo>
                  <a:lnTo>
                    <a:pt x="397" y="163"/>
                  </a:lnTo>
                  <a:lnTo>
                    <a:pt x="386" y="149"/>
                  </a:lnTo>
                  <a:lnTo>
                    <a:pt x="373" y="136"/>
                  </a:lnTo>
                  <a:lnTo>
                    <a:pt x="358" y="127"/>
                  </a:lnTo>
                  <a:lnTo>
                    <a:pt x="342" y="118"/>
                  </a:lnTo>
                  <a:lnTo>
                    <a:pt x="323" y="111"/>
                  </a:lnTo>
                  <a:lnTo>
                    <a:pt x="323" y="111"/>
                  </a:lnTo>
                  <a:lnTo>
                    <a:pt x="297" y="103"/>
                  </a:lnTo>
                  <a:lnTo>
                    <a:pt x="270" y="100"/>
                  </a:lnTo>
                  <a:lnTo>
                    <a:pt x="244" y="99"/>
                  </a:lnTo>
                  <a:lnTo>
                    <a:pt x="217" y="99"/>
                  </a:lnTo>
                  <a:lnTo>
                    <a:pt x="192" y="102"/>
                  </a:lnTo>
                  <a:lnTo>
                    <a:pt x="165" y="107"/>
                  </a:lnTo>
                  <a:lnTo>
                    <a:pt x="140" y="114"/>
                  </a:lnTo>
                  <a:lnTo>
                    <a:pt x="115" y="124"/>
                  </a:lnTo>
                  <a:lnTo>
                    <a:pt x="115" y="124"/>
                  </a:lnTo>
                  <a:lnTo>
                    <a:pt x="95" y="133"/>
                  </a:lnTo>
                  <a:lnTo>
                    <a:pt x="76" y="144"/>
                  </a:lnTo>
                  <a:lnTo>
                    <a:pt x="58" y="157"/>
                  </a:lnTo>
                  <a:lnTo>
                    <a:pt x="37" y="169"/>
                  </a:lnTo>
                  <a:lnTo>
                    <a:pt x="37" y="169"/>
                  </a:lnTo>
                  <a:close/>
                </a:path>
              </a:pathLst>
            </a:cu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6640390" y="1905226"/>
            <a:ext cx="4080758" cy="543108"/>
            <a:chOff x="7200580" y="2009338"/>
            <a:chExt cx="4162586" cy="553998"/>
          </a:xfrm>
        </p:grpSpPr>
        <p:sp>
          <p:nvSpPr>
            <p:cNvPr id="4" name="Rectangle 3"/>
            <p:cNvSpPr/>
            <p:nvPr/>
          </p:nvSpPr>
          <p:spPr bwMode="auto">
            <a:xfrm>
              <a:off x="7200580" y="2140594"/>
              <a:ext cx="746306" cy="42274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ight Arrow 7"/>
            <p:cNvSpPr/>
            <p:nvPr/>
          </p:nvSpPr>
          <p:spPr bwMode="auto">
            <a:xfrm>
              <a:off x="8049228" y="2259553"/>
              <a:ext cx="616585" cy="203935"/>
            </a:xfrm>
            <a:prstGeom prst="right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Rectangle 8"/>
            <p:cNvSpPr/>
            <p:nvPr/>
          </p:nvSpPr>
          <p:spPr bwMode="auto">
            <a:xfrm>
              <a:off x="8768155"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p:cNvSpPr/>
            <p:nvPr/>
          </p:nvSpPr>
          <p:spPr bwMode="auto">
            <a:xfrm>
              <a:off x="9300302"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Rectangle 11"/>
            <p:cNvSpPr/>
            <p:nvPr/>
          </p:nvSpPr>
          <p:spPr bwMode="auto">
            <a:xfrm>
              <a:off x="9832450"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TextBox 12"/>
            <p:cNvSpPr txBox="1"/>
            <p:nvPr/>
          </p:nvSpPr>
          <p:spPr>
            <a:xfrm>
              <a:off x="10348465" y="2009338"/>
              <a:ext cx="1014701"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0" normalizeH="0" baseline="0" noProof="0" dirty="0">
                  <a:ln>
                    <a:noFill/>
                  </a:ln>
                  <a:solidFill>
                    <a:srgbClr val="68217A"/>
                  </a:solidFill>
                  <a:effectLst/>
                  <a:uLnTx/>
                  <a:uFillTx/>
                  <a:latin typeface="Segoe UI"/>
                  <a:ea typeface="+mn-ea"/>
                  <a:cs typeface="+mn-cs"/>
                </a:rPr>
                <a:t>………</a:t>
              </a:r>
            </a:p>
          </p:txBody>
        </p:sp>
      </p:grpSp>
      <p:grpSp>
        <p:nvGrpSpPr>
          <p:cNvPr id="62" name="Group 61"/>
          <p:cNvGrpSpPr/>
          <p:nvPr/>
        </p:nvGrpSpPr>
        <p:grpSpPr>
          <a:xfrm>
            <a:off x="6388636" y="1278915"/>
            <a:ext cx="5384721" cy="561211"/>
            <a:chOff x="6943778" y="1370469"/>
            <a:chExt cx="5492696" cy="572464"/>
          </a:xfrm>
        </p:grpSpPr>
        <p:sp>
          <p:nvSpPr>
            <p:cNvPr id="3" name="TextBox 2"/>
            <p:cNvSpPr txBox="1"/>
            <p:nvPr/>
          </p:nvSpPr>
          <p:spPr>
            <a:xfrm>
              <a:off x="7200579" y="1370469"/>
              <a:ext cx="5235895" cy="572464"/>
            </a:xfrm>
            <a:prstGeom prst="rect">
              <a:avLst/>
            </a:prstGeom>
            <a:solidFill>
              <a:schemeClr val="accent3"/>
            </a:solidFill>
            <a:ln>
              <a:noFill/>
            </a:ln>
          </p:spPr>
          <p:txBody>
            <a:bodyPr wrap="square" lIns="89642" tIns="143428" rIns="44821" bIns="143428" rtlCol="0">
              <a:spAutoFit/>
            </a:bodyPr>
            <a:lstStyle/>
            <a:p>
              <a:pPr marL="230321" marR="0" lvl="0" indent="-230321"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Divide a large problem into sub-problems.</a:t>
              </a:r>
            </a:p>
          </p:txBody>
        </p:sp>
        <p:sp>
          <p:nvSpPr>
            <p:cNvPr id="58" name="Freeform 57"/>
            <p:cNvSpPr>
              <a:spLocks/>
            </p:cNvSpPr>
            <p:nvPr/>
          </p:nvSpPr>
          <p:spPr bwMode="auto">
            <a:xfrm>
              <a:off x="6943778" y="1430894"/>
              <a:ext cx="153638" cy="451614"/>
            </a:xfrm>
            <a:custGeom>
              <a:avLst/>
              <a:gdLst>
                <a:gd name="T0" fmla="*/ 231 w 347"/>
                <a:gd name="T1" fmla="*/ 161 h 1020"/>
                <a:gd name="T2" fmla="*/ 178 w 347"/>
                <a:gd name="T3" fmla="*/ 198 h 1020"/>
                <a:gd name="T4" fmla="*/ 122 w 347"/>
                <a:gd name="T5" fmla="*/ 229 h 1020"/>
                <a:gd name="T6" fmla="*/ 64 w 347"/>
                <a:gd name="T7" fmla="*/ 256 h 1020"/>
                <a:gd name="T8" fmla="*/ 3 w 347"/>
                <a:gd name="T9" fmla="*/ 276 h 1020"/>
                <a:gd name="T10" fmla="*/ 2 w 347"/>
                <a:gd name="T11" fmla="*/ 273 h 1020"/>
                <a:gd name="T12" fmla="*/ 0 w 347"/>
                <a:gd name="T13" fmla="*/ 264 h 1020"/>
                <a:gd name="T14" fmla="*/ 0 w 347"/>
                <a:gd name="T15" fmla="*/ 172 h 1020"/>
                <a:gd name="T16" fmla="*/ 0 w 347"/>
                <a:gd name="T17" fmla="*/ 165 h 1020"/>
                <a:gd name="T18" fmla="*/ 7 w 347"/>
                <a:gd name="T19" fmla="*/ 159 h 1020"/>
                <a:gd name="T20" fmla="*/ 11 w 347"/>
                <a:gd name="T21" fmla="*/ 157 h 1020"/>
                <a:gd name="T22" fmla="*/ 78 w 347"/>
                <a:gd name="T23" fmla="*/ 132 h 1020"/>
                <a:gd name="T24" fmla="*/ 144 w 347"/>
                <a:gd name="T25" fmla="*/ 103 h 1020"/>
                <a:gd name="T26" fmla="*/ 205 w 347"/>
                <a:gd name="T27" fmla="*/ 68 h 1020"/>
                <a:gd name="T28" fmla="*/ 266 w 347"/>
                <a:gd name="T29" fmla="*/ 29 h 1020"/>
                <a:gd name="T30" fmla="*/ 296 w 347"/>
                <a:gd name="T31" fmla="*/ 4 h 1020"/>
                <a:gd name="T32" fmla="*/ 302 w 347"/>
                <a:gd name="T33" fmla="*/ 1 h 1020"/>
                <a:gd name="T34" fmla="*/ 308 w 347"/>
                <a:gd name="T35" fmla="*/ 0 h 1020"/>
                <a:gd name="T36" fmla="*/ 339 w 347"/>
                <a:gd name="T37" fmla="*/ 0 h 1020"/>
                <a:gd name="T38" fmla="*/ 346 w 347"/>
                <a:gd name="T39" fmla="*/ 1 h 1020"/>
                <a:gd name="T40" fmla="*/ 347 w 347"/>
                <a:gd name="T41" fmla="*/ 7 h 1020"/>
                <a:gd name="T42" fmla="*/ 347 w 347"/>
                <a:gd name="T43" fmla="*/ 18 h 1020"/>
                <a:gd name="T44" fmla="*/ 347 w 347"/>
                <a:gd name="T45" fmla="*/ 1003 h 1020"/>
                <a:gd name="T46" fmla="*/ 347 w 347"/>
                <a:gd name="T47" fmla="*/ 1012 h 1020"/>
                <a:gd name="T48" fmla="*/ 344 w 347"/>
                <a:gd name="T49" fmla="*/ 1018 h 1020"/>
                <a:gd name="T50" fmla="*/ 339 w 347"/>
                <a:gd name="T51" fmla="*/ 1020 h 1020"/>
                <a:gd name="T52" fmla="*/ 328 w 347"/>
                <a:gd name="T53" fmla="*/ 1020 h 1020"/>
                <a:gd name="T54" fmla="*/ 242 w 347"/>
                <a:gd name="T55" fmla="*/ 1020 h 1020"/>
                <a:gd name="T56" fmla="*/ 233 w 347"/>
                <a:gd name="T57" fmla="*/ 1018 h 1020"/>
                <a:gd name="T58" fmla="*/ 231 w 347"/>
                <a:gd name="T59" fmla="*/ 1011 h 1020"/>
                <a:gd name="T60" fmla="*/ 231 w 347"/>
                <a:gd name="T61" fmla="*/ 1000 h 1020"/>
                <a:gd name="T62" fmla="*/ 231 w 347"/>
                <a:gd name="T63" fmla="*/ 181 h 1020"/>
                <a:gd name="T64" fmla="*/ 231 w 347"/>
                <a:gd name="T65" fmla="*/ 16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1020">
                  <a:moveTo>
                    <a:pt x="231" y="161"/>
                  </a:moveTo>
                  <a:lnTo>
                    <a:pt x="231" y="161"/>
                  </a:lnTo>
                  <a:lnTo>
                    <a:pt x="205" y="181"/>
                  </a:lnTo>
                  <a:lnTo>
                    <a:pt x="178" y="198"/>
                  </a:lnTo>
                  <a:lnTo>
                    <a:pt x="150" y="215"/>
                  </a:lnTo>
                  <a:lnTo>
                    <a:pt x="122" y="229"/>
                  </a:lnTo>
                  <a:lnTo>
                    <a:pt x="92" y="243"/>
                  </a:lnTo>
                  <a:lnTo>
                    <a:pt x="64" y="256"/>
                  </a:lnTo>
                  <a:lnTo>
                    <a:pt x="33" y="267"/>
                  </a:lnTo>
                  <a:lnTo>
                    <a:pt x="3" y="276"/>
                  </a:lnTo>
                  <a:lnTo>
                    <a:pt x="3" y="276"/>
                  </a:lnTo>
                  <a:lnTo>
                    <a:pt x="2" y="273"/>
                  </a:lnTo>
                  <a:lnTo>
                    <a:pt x="0" y="270"/>
                  </a:lnTo>
                  <a:lnTo>
                    <a:pt x="0" y="264"/>
                  </a:lnTo>
                  <a:lnTo>
                    <a:pt x="0" y="264"/>
                  </a:lnTo>
                  <a:lnTo>
                    <a:pt x="0" y="172"/>
                  </a:lnTo>
                  <a:lnTo>
                    <a:pt x="0" y="172"/>
                  </a:lnTo>
                  <a:lnTo>
                    <a:pt x="0" y="165"/>
                  </a:lnTo>
                  <a:lnTo>
                    <a:pt x="3" y="162"/>
                  </a:lnTo>
                  <a:lnTo>
                    <a:pt x="7" y="159"/>
                  </a:lnTo>
                  <a:lnTo>
                    <a:pt x="11" y="157"/>
                  </a:lnTo>
                  <a:lnTo>
                    <a:pt x="11" y="157"/>
                  </a:lnTo>
                  <a:lnTo>
                    <a:pt x="46" y="145"/>
                  </a:lnTo>
                  <a:lnTo>
                    <a:pt x="78" y="132"/>
                  </a:lnTo>
                  <a:lnTo>
                    <a:pt x="111" y="118"/>
                  </a:lnTo>
                  <a:lnTo>
                    <a:pt x="144" y="103"/>
                  </a:lnTo>
                  <a:lnTo>
                    <a:pt x="175" y="86"/>
                  </a:lnTo>
                  <a:lnTo>
                    <a:pt x="205" y="68"/>
                  </a:lnTo>
                  <a:lnTo>
                    <a:pt x="236" y="50"/>
                  </a:lnTo>
                  <a:lnTo>
                    <a:pt x="266" y="29"/>
                  </a:lnTo>
                  <a:lnTo>
                    <a:pt x="266" y="29"/>
                  </a:lnTo>
                  <a:lnTo>
                    <a:pt x="296" y="4"/>
                  </a:lnTo>
                  <a:lnTo>
                    <a:pt x="296" y="4"/>
                  </a:lnTo>
                  <a:lnTo>
                    <a:pt x="302" y="1"/>
                  </a:lnTo>
                  <a:lnTo>
                    <a:pt x="308" y="0"/>
                  </a:lnTo>
                  <a:lnTo>
                    <a:pt x="308" y="0"/>
                  </a:lnTo>
                  <a:lnTo>
                    <a:pt x="339" y="0"/>
                  </a:lnTo>
                  <a:lnTo>
                    <a:pt x="339" y="0"/>
                  </a:lnTo>
                  <a:lnTo>
                    <a:pt x="344" y="0"/>
                  </a:lnTo>
                  <a:lnTo>
                    <a:pt x="346" y="1"/>
                  </a:lnTo>
                  <a:lnTo>
                    <a:pt x="347" y="4"/>
                  </a:lnTo>
                  <a:lnTo>
                    <a:pt x="347" y="7"/>
                  </a:lnTo>
                  <a:lnTo>
                    <a:pt x="347" y="7"/>
                  </a:lnTo>
                  <a:lnTo>
                    <a:pt x="347" y="18"/>
                  </a:lnTo>
                  <a:lnTo>
                    <a:pt x="347" y="18"/>
                  </a:lnTo>
                  <a:lnTo>
                    <a:pt x="347" y="1003"/>
                  </a:lnTo>
                  <a:lnTo>
                    <a:pt x="347" y="1003"/>
                  </a:lnTo>
                  <a:lnTo>
                    <a:pt x="347" y="1012"/>
                  </a:lnTo>
                  <a:lnTo>
                    <a:pt x="346" y="1017"/>
                  </a:lnTo>
                  <a:lnTo>
                    <a:pt x="344" y="1018"/>
                  </a:lnTo>
                  <a:lnTo>
                    <a:pt x="342" y="1020"/>
                  </a:lnTo>
                  <a:lnTo>
                    <a:pt x="339" y="1020"/>
                  </a:lnTo>
                  <a:lnTo>
                    <a:pt x="328" y="1020"/>
                  </a:lnTo>
                  <a:lnTo>
                    <a:pt x="328" y="1020"/>
                  </a:lnTo>
                  <a:lnTo>
                    <a:pt x="242" y="1020"/>
                  </a:lnTo>
                  <a:lnTo>
                    <a:pt x="242" y="1020"/>
                  </a:lnTo>
                  <a:lnTo>
                    <a:pt x="236" y="1020"/>
                  </a:lnTo>
                  <a:lnTo>
                    <a:pt x="233" y="1018"/>
                  </a:lnTo>
                  <a:lnTo>
                    <a:pt x="231" y="1015"/>
                  </a:lnTo>
                  <a:lnTo>
                    <a:pt x="231" y="1011"/>
                  </a:lnTo>
                  <a:lnTo>
                    <a:pt x="231" y="1011"/>
                  </a:lnTo>
                  <a:lnTo>
                    <a:pt x="231" y="1000"/>
                  </a:lnTo>
                  <a:lnTo>
                    <a:pt x="231" y="1000"/>
                  </a:lnTo>
                  <a:lnTo>
                    <a:pt x="231" y="181"/>
                  </a:lnTo>
                  <a:lnTo>
                    <a:pt x="231" y="181"/>
                  </a:lnTo>
                  <a:lnTo>
                    <a:pt x="231" y="161"/>
                  </a:lnTo>
                  <a:lnTo>
                    <a:pt x="231" y="161"/>
                  </a:lnTo>
                  <a:close/>
                </a:path>
              </a:pathLst>
            </a:custGeom>
            <a:solidFill>
              <a:schemeClr val="accent3">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9987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500"/>
                            </p:stCondLst>
                            <p:childTnLst>
                              <p:par>
                                <p:cTn id="13" presetID="47"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anim calcmode="lin" valueType="num">
                                      <p:cBhvr>
                                        <p:cTn id="16" dur="500" fill="hold"/>
                                        <p:tgtEl>
                                          <p:spTgt spid="7"/>
                                        </p:tgtEl>
                                        <p:attrNameLst>
                                          <p:attrName>ppt_x</p:attrName>
                                        </p:attrNameLst>
                                      </p:cBhvr>
                                      <p:tavLst>
                                        <p:tav tm="0">
                                          <p:val>
                                            <p:strVal val="#ppt_x"/>
                                          </p:val>
                                        </p:tav>
                                        <p:tav tm="100000">
                                          <p:val>
                                            <p:strVal val="#ppt_x"/>
                                          </p:val>
                                        </p:tav>
                                      </p:tavLst>
                                    </p:anim>
                                    <p:anim calcmode="lin" valueType="num">
                                      <p:cBhvr>
                                        <p:cTn id="17"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1000"/>
                                        <p:tgtEl>
                                          <p:spTgt spid="37"/>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1000"/>
                                        <p:tgtEl>
                                          <p:spTgt spid="40"/>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63"/>
                                        </p:tgtEl>
                                        <p:attrNameLst>
                                          <p:attrName>style.visibility</p:attrName>
                                        </p:attrNameLst>
                                      </p:cBhvr>
                                      <p:to>
                                        <p:strVal val="visible"/>
                                      </p:to>
                                    </p:set>
                                    <p:animEffect transition="in" filter="fade">
                                      <p:cBhvr>
                                        <p:cTn id="30" dur="500"/>
                                        <p:tgtEl>
                                          <p:spTgt spid="63"/>
                                        </p:tgtEl>
                                      </p:cBhvr>
                                    </p:animEffect>
                                  </p:childTnLst>
                                </p:cTn>
                              </p:par>
                            </p:childTnLst>
                          </p:cTn>
                        </p:par>
                        <p:par>
                          <p:cTn id="31" fill="hold">
                            <p:stCondLst>
                              <p:cond delay="2500"/>
                            </p:stCondLst>
                            <p:childTnLst>
                              <p:par>
                                <p:cTn id="32" presetID="47" presetClass="entr" presetSubtype="0" fill="hold" nodeType="after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anim calcmode="lin" valueType="num">
                                      <p:cBhvr>
                                        <p:cTn id="35" dur="500" fill="hold"/>
                                        <p:tgtEl>
                                          <p:spTgt spid="65"/>
                                        </p:tgtEl>
                                        <p:attrNameLst>
                                          <p:attrName>ppt_x</p:attrName>
                                        </p:attrNameLst>
                                      </p:cBhvr>
                                      <p:tavLst>
                                        <p:tav tm="0">
                                          <p:val>
                                            <p:strVal val="#ppt_x"/>
                                          </p:val>
                                        </p:tav>
                                        <p:tav tm="100000">
                                          <p:val>
                                            <p:strVal val="#ppt_x"/>
                                          </p:val>
                                        </p:tav>
                                      </p:tavLst>
                                    </p:anim>
                                    <p:anim calcmode="lin" valueType="num">
                                      <p:cBhvr>
                                        <p:cTn id="36" dur="500" fill="hold"/>
                                        <p:tgtEl>
                                          <p:spTgt spid="65"/>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16" presetClass="entr" presetSubtype="42"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barn(outHorizontal)">
                                      <p:cBhvr>
                                        <p:cTn id="40" dur="1000"/>
                                        <p:tgtEl>
                                          <p:spTgt spid="15"/>
                                        </p:tgtEl>
                                      </p:cBhvr>
                                    </p:animEffect>
                                  </p:childTnLst>
                                </p:cTn>
                              </p:par>
                            </p:childTnLst>
                          </p:cTn>
                        </p:par>
                        <p:par>
                          <p:cTn id="41" fill="hold">
                            <p:stCondLst>
                              <p:cond delay="4000"/>
                            </p:stCondLst>
                            <p:childTnLst>
                              <p:par>
                                <p:cTn id="42" presetID="10" presetClass="entr" presetSubtype="0" fill="hold" grpId="0"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1000"/>
                                        <p:tgtEl>
                                          <p:spTgt spid="43"/>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par>
                          <p:cTn id="54" fill="hold">
                            <p:stCondLst>
                              <p:cond delay="1500"/>
                            </p:stCondLst>
                            <p:childTnLst>
                              <p:par>
                                <p:cTn id="55" presetID="47" presetClass="entr" presetSubtype="0" fill="hold" nodeType="after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fade">
                                      <p:cBhvr>
                                        <p:cTn id="57" dur="500"/>
                                        <p:tgtEl>
                                          <p:spTgt spid="66"/>
                                        </p:tgtEl>
                                      </p:cBhvr>
                                    </p:animEffect>
                                    <p:anim calcmode="lin" valueType="num">
                                      <p:cBhvr>
                                        <p:cTn id="58" dur="500" fill="hold"/>
                                        <p:tgtEl>
                                          <p:spTgt spid="66"/>
                                        </p:tgtEl>
                                        <p:attrNameLst>
                                          <p:attrName>ppt_x</p:attrName>
                                        </p:attrNameLst>
                                      </p:cBhvr>
                                      <p:tavLst>
                                        <p:tav tm="0">
                                          <p:val>
                                            <p:strVal val="#ppt_x"/>
                                          </p:val>
                                        </p:tav>
                                        <p:tav tm="100000">
                                          <p:val>
                                            <p:strVal val="#ppt_x"/>
                                          </p:val>
                                        </p:tav>
                                      </p:tavLst>
                                    </p:anim>
                                    <p:anim calcmode="lin" valueType="num">
                                      <p:cBhvr>
                                        <p:cTn id="59" dur="500" fill="hold"/>
                                        <p:tgtEl>
                                          <p:spTgt spid="66"/>
                                        </p:tgtEl>
                                        <p:attrNameLst>
                                          <p:attrName>ppt_y</p:attrName>
                                        </p:attrNameLst>
                                      </p:cBhvr>
                                      <p:tavLst>
                                        <p:tav tm="0">
                                          <p:val>
                                            <p:strVal val="#ppt_y-.1"/>
                                          </p:val>
                                        </p:tav>
                                        <p:tav tm="100000">
                                          <p:val>
                                            <p:strVal val="#ppt_y"/>
                                          </p:val>
                                        </p:tav>
                                      </p:tavLst>
                                    </p:anim>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2500"/>
                            </p:stCondLst>
                            <p:childTnLst>
                              <p:par>
                                <p:cTn id="65" presetID="16" presetClass="entr" presetSubtype="42" fill="hold" grpId="0" nodeType="afterEffect">
                                  <p:stCondLst>
                                    <p:cond delay="0"/>
                                  </p:stCondLst>
                                  <p:childTnLst>
                                    <p:set>
                                      <p:cBhvr>
                                        <p:cTn id="66" dur="1" fill="hold">
                                          <p:stCondLst>
                                            <p:cond delay="0"/>
                                          </p:stCondLst>
                                        </p:cTn>
                                        <p:tgtEl>
                                          <p:spTgt spid="55"/>
                                        </p:tgtEl>
                                        <p:attrNameLst>
                                          <p:attrName>style.visibility</p:attrName>
                                        </p:attrNameLst>
                                      </p:cBhvr>
                                      <p:to>
                                        <p:strVal val="visible"/>
                                      </p:to>
                                    </p:set>
                                    <p:animEffect transition="in" filter="barn(outHorizontal)">
                                      <p:cBhvr>
                                        <p:cTn id="67" dur="1000"/>
                                        <p:tgtEl>
                                          <p:spTgt spid="55"/>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32"/>
                                        </p:tgtEl>
                                        <p:attrNameLst>
                                          <p:attrName>style.visibility</p:attrName>
                                        </p:attrNameLst>
                                      </p:cBhvr>
                                      <p:to>
                                        <p:strVal val="visible"/>
                                      </p:to>
                                    </p:set>
                                    <p:animEffect transition="in" filter="fade">
                                      <p:cBhvr>
                                        <p:cTn id="7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5" grpId="0" animBg="1"/>
      <p:bldP spid="31" grpId="0" animBg="1"/>
      <p:bldP spid="32" grpId="0" animBg="1"/>
      <p:bldP spid="5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a:t>
            </a:r>
          </a:p>
        </p:txBody>
      </p:sp>
      <p:sp>
        <p:nvSpPr>
          <p:cNvPr id="3" name="Content Placeholder 2"/>
          <p:cNvSpPr>
            <a:spLocks noGrp="1"/>
          </p:cNvSpPr>
          <p:nvPr>
            <p:ph sz="quarter" idx="10"/>
          </p:nvPr>
        </p:nvSpPr>
        <p:spPr>
          <a:xfrm>
            <a:off x="6038363" y="2743214"/>
            <a:ext cx="5645923" cy="3655892"/>
          </a:xfrm>
        </p:spPr>
        <p:txBody>
          <a:bodyPr/>
          <a:lstStyle/>
          <a:p>
            <a:pPr marL="514350" indent="-514350">
              <a:buFont typeface="+mj-lt"/>
              <a:buAutoNum type="arabicPeriod"/>
            </a:pPr>
            <a:r>
              <a:rPr lang="en-US" dirty="0"/>
              <a:t>Source data is divided among data nodes</a:t>
            </a:r>
          </a:p>
          <a:p>
            <a:pPr marL="514350" indent="-514350">
              <a:buFont typeface="+mj-lt"/>
              <a:buAutoNum type="arabicPeriod"/>
            </a:pPr>
            <a:r>
              <a:rPr lang="en-US" dirty="0"/>
              <a:t>Map phase generates key/value pairs</a:t>
            </a:r>
          </a:p>
          <a:p>
            <a:pPr marL="514350" indent="-514350">
              <a:buFont typeface="+mj-lt"/>
              <a:buAutoNum type="arabicPeriod"/>
            </a:pPr>
            <a:r>
              <a:rPr lang="en-US" dirty="0"/>
              <a:t>Reduce phase aggregates values for each key</a:t>
            </a:r>
          </a:p>
        </p:txBody>
      </p:sp>
      <p:sp>
        <p:nvSpPr>
          <p:cNvPr id="4" name="TextBox 3"/>
          <p:cNvSpPr txBox="1"/>
          <p:nvPr/>
        </p:nvSpPr>
        <p:spPr>
          <a:xfrm>
            <a:off x="1229966" y="883984"/>
            <a:ext cx="3592664" cy="523220"/>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Lore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ipsu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ma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elit</a:t>
            </a:r>
            <a:endParaRPr kumimoji="0" lang="en-GB" sz="1400" b="0" i="0" u="none" strike="noStrike" kern="0" cap="none" spc="0" normalizeH="0" baseline="0" noProof="0" dirty="0">
              <a:ln>
                <a:noFill/>
              </a:ln>
              <a:solidFill>
                <a:srgbClr val="000000"/>
              </a:solidFill>
              <a:effectLst/>
              <a:uLnTx/>
              <a:uFillTx/>
              <a:latin typeface="Verdana" pitchFamily="34"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Fusce</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sed</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a:t>
            </a:r>
          </a:p>
        </p:txBody>
      </p:sp>
      <p:graphicFrame>
        <p:nvGraphicFramePr>
          <p:cNvPr id="5" name="Table 4"/>
          <p:cNvGraphicFramePr>
            <a:graphicFrameLocks noGrp="1"/>
          </p:cNvGraphicFramePr>
          <p:nvPr>
            <p:extLst/>
          </p:nvPr>
        </p:nvGraphicFramePr>
        <p:xfrm>
          <a:off x="913074" y="1686069"/>
          <a:ext cx="2194560" cy="24384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79070">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Lore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ipsu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eli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bl>
          </a:graphicData>
        </a:graphic>
      </p:graphicFrame>
      <p:graphicFrame>
        <p:nvGraphicFramePr>
          <p:cNvPr id="6" name="Table 5"/>
          <p:cNvGraphicFramePr>
            <a:graphicFrameLocks noGrp="1"/>
          </p:cNvGraphicFramePr>
          <p:nvPr>
            <p:extLst/>
          </p:nvPr>
        </p:nvGraphicFramePr>
        <p:xfrm>
          <a:off x="3545784" y="1678449"/>
          <a:ext cx="2194560" cy="21336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22391">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Fusce</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sed</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bl>
          </a:graphicData>
        </a:graphic>
      </p:graphicFrame>
      <p:sp>
        <p:nvSpPr>
          <p:cNvPr id="7" name="Left Brace 6"/>
          <p:cNvSpPr/>
          <p:nvPr/>
        </p:nvSpPr>
        <p:spPr bwMode="auto">
          <a:xfrm>
            <a:off x="1229966" y="954438"/>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sp>
        <p:nvSpPr>
          <p:cNvPr id="8" name="Left Brace 7"/>
          <p:cNvSpPr/>
          <p:nvPr/>
        </p:nvSpPr>
        <p:spPr bwMode="auto">
          <a:xfrm flipH="1">
            <a:off x="4364935" y="1176340"/>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cxnSp>
        <p:nvCxnSpPr>
          <p:cNvPr id="9" name="Elbow Connector 8"/>
          <p:cNvCxnSpPr>
            <a:stCxn id="7" idx="1"/>
            <a:endCxn id="5" idx="0"/>
          </p:cNvCxnSpPr>
          <p:nvPr/>
        </p:nvCxnSpPr>
        <p:spPr bwMode="auto">
          <a:xfrm rot="10800000" flipH="1" flipV="1">
            <a:off x="1229966" y="1050953"/>
            <a:ext cx="780388" cy="635116"/>
          </a:xfrm>
          <a:prstGeom prst="bentConnector4">
            <a:avLst>
              <a:gd name="adj1" fmla="val -29293"/>
              <a:gd name="adj2" fmla="val 6511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0" name="Elbow Connector 9"/>
          <p:cNvCxnSpPr>
            <a:stCxn id="8" idx="1"/>
            <a:endCxn id="6" idx="0"/>
          </p:cNvCxnSpPr>
          <p:nvPr/>
        </p:nvCxnSpPr>
        <p:spPr bwMode="auto">
          <a:xfrm>
            <a:off x="4410654" y="1272855"/>
            <a:ext cx="232410" cy="405594"/>
          </a:xfrm>
          <a:prstGeom prst="bentConnector2">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graphicFrame>
        <p:nvGraphicFramePr>
          <p:cNvPr id="11" name="Table 10"/>
          <p:cNvGraphicFramePr>
            <a:graphicFrameLocks noGrp="1"/>
          </p:cNvGraphicFramePr>
          <p:nvPr>
            <p:extLst/>
          </p:nvPr>
        </p:nvGraphicFramePr>
        <p:xfrm>
          <a:off x="2391023" y="4426645"/>
          <a:ext cx="2194560" cy="2327988"/>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310996">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Lore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ipsu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i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ame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2</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gma</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elit</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Fusce</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sed</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8"/>
                  </a:ext>
                </a:extLst>
              </a:tr>
            </a:tbl>
          </a:graphicData>
        </a:graphic>
      </p:graphicFrame>
      <p:cxnSp>
        <p:nvCxnSpPr>
          <p:cNvPr id="12" name="Elbow Connector 11"/>
          <p:cNvCxnSpPr>
            <a:stCxn id="5" idx="2"/>
            <a:endCxn id="11" idx="0"/>
          </p:cNvCxnSpPr>
          <p:nvPr/>
        </p:nvCxnSpPr>
        <p:spPr bwMode="auto">
          <a:xfrm rot="16200000" flipH="1">
            <a:off x="2598240" y="3536582"/>
            <a:ext cx="302176" cy="1477949"/>
          </a:xfrm>
          <a:prstGeom prst="bentConnector3">
            <a:avLst>
              <a:gd name="adj1" fmla="val 5000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3" name="Elbow Connector 12"/>
          <p:cNvCxnSpPr>
            <a:stCxn id="6" idx="2"/>
            <a:endCxn id="11" idx="0"/>
          </p:cNvCxnSpPr>
          <p:nvPr/>
        </p:nvCxnSpPr>
        <p:spPr bwMode="auto">
          <a:xfrm rot="5400000">
            <a:off x="3758386" y="3541967"/>
            <a:ext cx="614596" cy="1154761"/>
          </a:xfrm>
          <a:prstGeom prst="bentConnector3">
            <a:avLst>
              <a:gd name="adj1" fmla="val 75875"/>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sp>
        <p:nvSpPr>
          <p:cNvPr id="39" name="TextBox 38"/>
          <p:cNvSpPr txBox="1"/>
          <p:nvPr/>
        </p:nvSpPr>
        <p:spPr>
          <a:xfrm rot="16200000">
            <a:off x="-177689" y="2413121"/>
            <a:ext cx="1114408"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MAP</a:t>
            </a:r>
          </a:p>
        </p:txBody>
      </p:sp>
      <p:sp>
        <p:nvSpPr>
          <p:cNvPr id="40" name="TextBox 39"/>
          <p:cNvSpPr txBox="1"/>
          <p:nvPr/>
        </p:nvSpPr>
        <p:spPr>
          <a:xfrm rot="16200000">
            <a:off x="-485466" y="5316675"/>
            <a:ext cx="1729961"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REDUCE</a:t>
            </a:r>
          </a:p>
        </p:txBody>
      </p:sp>
    </p:spTree>
    <p:extLst>
      <p:ext uri="{BB962C8B-B14F-4D97-AF65-F5344CB8AC3E}">
        <p14:creationId xmlns:p14="http://schemas.microsoft.com/office/powerpoint/2010/main" val="2352830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How it work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7</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8" name="Group 97"/>
          <p:cNvGrpSpPr/>
          <p:nvPr/>
        </p:nvGrpSpPr>
        <p:grpSpPr>
          <a:xfrm>
            <a:off x="6709025" y="1345915"/>
            <a:ext cx="5213425" cy="4743724"/>
            <a:chOff x="5832439" y="928776"/>
            <a:chExt cx="6090011" cy="5160864"/>
          </a:xfrm>
        </p:grpSpPr>
        <p:sp>
          <p:nvSpPr>
            <p:cNvPr id="32" name="Rectangle 31"/>
            <p:cNvSpPr/>
            <p:nvPr/>
          </p:nvSpPr>
          <p:spPr bwMode="auto">
            <a:xfrm>
              <a:off x="5944600" y="3630612"/>
              <a:ext cx="5977850" cy="15240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Rectangle 3"/>
            <p:cNvSpPr/>
            <p:nvPr/>
          </p:nvSpPr>
          <p:spPr bwMode="auto">
            <a:xfrm>
              <a:off x="5944600" y="5154692"/>
              <a:ext cx="5977850" cy="9349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Rectangle 6"/>
            <p:cNvSpPr/>
            <p:nvPr/>
          </p:nvSpPr>
          <p:spPr bwMode="auto">
            <a:xfrm>
              <a:off x="5944601" y="1049931"/>
              <a:ext cx="5977849" cy="88991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 name="TextBox 8"/>
            <p:cNvSpPr txBox="1"/>
            <p:nvPr/>
          </p:nvSpPr>
          <p:spPr>
            <a:xfrm>
              <a:off x="7911246" y="1238910"/>
              <a:ext cx="2044558" cy="364805"/>
            </a:xfrm>
            <a:prstGeom prst="rect">
              <a:avLst/>
            </a:prstGeom>
            <a:solidFill>
              <a:schemeClr val="bg1"/>
            </a:solid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Input Data File</a:t>
              </a:r>
            </a:p>
          </p:txBody>
        </p:sp>
        <p:sp>
          <p:nvSpPr>
            <p:cNvPr id="10" name="TextBox 9"/>
            <p:cNvSpPr txBox="1"/>
            <p:nvPr/>
          </p:nvSpPr>
          <p:spPr>
            <a:xfrm>
              <a:off x="5862407" y="928776"/>
              <a:ext cx="914400" cy="4572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DFS</a:t>
              </a:r>
            </a:p>
          </p:txBody>
        </p:sp>
        <p:sp>
          <p:nvSpPr>
            <p:cNvPr id="11" name="TextBox 10"/>
            <p:cNvSpPr txBox="1"/>
            <p:nvPr/>
          </p:nvSpPr>
          <p:spPr>
            <a:xfrm>
              <a:off x="5832439" y="5632440"/>
              <a:ext cx="914400" cy="4572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DFS</a:t>
              </a:r>
            </a:p>
          </p:txBody>
        </p:sp>
        <p:sp>
          <p:nvSpPr>
            <p:cNvPr id="30" name="TextBox 29"/>
            <p:cNvSpPr txBox="1"/>
            <p:nvPr/>
          </p:nvSpPr>
          <p:spPr>
            <a:xfrm>
              <a:off x="6708063" y="5444090"/>
              <a:ext cx="1380661" cy="356151"/>
            </a:xfrm>
            <a:prstGeom prst="rect">
              <a:avLst/>
            </a:prstGeom>
            <a:solidFill>
              <a:schemeClr val="bg1"/>
            </a:solidFill>
          </p:spPr>
          <p:txBody>
            <a:bodyPr wrap="non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Output File</a:t>
              </a:r>
            </a:p>
          </p:txBody>
        </p:sp>
        <p:sp>
          <p:nvSpPr>
            <p:cNvPr id="31" name="TextBox 30"/>
            <p:cNvSpPr txBox="1"/>
            <p:nvPr/>
          </p:nvSpPr>
          <p:spPr>
            <a:xfrm>
              <a:off x="9768056" y="5442378"/>
              <a:ext cx="1380661" cy="356151"/>
            </a:xfrm>
            <a:prstGeom prst="rect">
              <a:avLst/>
            </a:prstGeom>
            <a:solidFill>
              <a:schemeClr val="bg1"/>
            </a:solidFill>
          </p:spPr>
          <p:txBody>
            <a:bodyPr wrap="non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Output File</a:t>
              </a:r>
            </a:p>
          </p:txBody>
        </p:sp>
        <p:sp>
          <p:nvSpPr>
            <p:cNvPr id="5" name="Rectangle 4"/>
            <p:cNvSpPr/>
            <p:nvPr/>
          </p:nvSpPr>
          <p:spPr bwMode="auto">
            <a:xfrm>
              <a:off x="6392133" y="3862449"/>
              <a:ext cx="2012522" cy="11428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 name="TextBox 28"/>
            <p:cNvSpPr txBox="1"/>
            <p:nvPr/>
          </p:nvSpPr>
          <p:spPr>
            <a:xfrm>
              <a:off x="6887610" y="4214576"/>
              <a:ext cx="1021568" cy="356151"/>
            </a:xfrm>
            <a:prstGeom prst="rect">
              <a:avLst/>
            </a:prstGeom>
            <a:solidFill>
              <a:schemeClr val="bg1"/>
            </a:solidFill>
          </p:spPr>
          <p:txBody>
            <a:bodyPr wrap="non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Reducer</a:t>
              </a:r>
            </a:p>
          </p:txBody>
        </p:sp>
        <p:sp>
          <p:nvSpPr>
            <p:cNvPr id="6" name="Rectangle 5"/>
            <p:cNvSpPr/>
            <p:nvPr/>
          </p:nvSpPr>
          <p:spPr bwMode="auto">
            <a:xfrm>
              <a:off x="5944603" y="1943208"/>
              <a:ext cx="2865649" cy="167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TextBox 12"/>
            <p:cNvSpPr txBox="1"/>
            <p:nvPr/>
          </p:nvSpPr>
          <p:spPr>
            <a:xfrm>
              <a:off x="6887610" y="2178549"/>
              <a:ext cx="1021568" cy="356151"/>
            </a:xfrm>
            <a:prstGeom prst="rect">
              <a:avLst/>
            </a:prstGeom>
            <a:solidFill>
              <a:schemeClr val="bg1"/>
            </a:solidFill>
          </p:spPr>
          <p:txBody>
            <a:bodyPr wrap="non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Mapper</a:t>
              </a:r>
            </a:p>
          </p:txBody>
        </p:sp>
        <p:sp>
          <p:nvSpPr>
            <p:cNvPr id="17" name="TextBox 16"/>
            <p:cNvSpPr txBox="1"/>
            <p:nvPr/>
          </p:nvSpPr>
          <p:spPr>
            <a:xfrm>
              <a:off x="5882955" y="1930333"/>
              <a:ext cx="698642" cy="298827"/>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Host </a:t>
              </a:r>
            </a:p>
          </p:txBody>
        </p:sp>
        <p:sp>
          <p:nvSpPr>
            <p:cNvPr id="18" name="TextBox 17"/>
            <p:cNvSpPr txBox="1"/>
            <p:nvPr/>
          </p:nvSpPr>
          <p:spPr>
            <a:xfrm>
              <a:off x="6098711" y="2925330"/>
              <a:ext cx="799678" cy="425723"/>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Data Partition 1</a:t>
              </a:r>
            </a:p>
          </p:txBody>
        </p:sp>
        <p:sp>
          <p:nvSpPr>
            <p:cNvPr id="19" name="TextBox 18"/>
            <p:cNvSpPr txBox="1"/>
            <p:nvPr/>
          </p:nvSpPr>
          <p:spPr>
            <a:xfrm>
              <a:off x="6998555" y="2925330"/>
              <a:ext cx="799678" cy="425723"/>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Data Partition 2</a:t>
              </a:r>
            </a:p>
          </p:txBody>
        </p:sp>
        <p:sp>
          <p:nvSpPr>
            <p:cNvPr id="20" name="TextBox 19"/>
            <p:cNvSpPr txBox="1"/>
            <p:nvPr/>
          </p:nvSpPr>
          <p:spPr>
            <a:xfrm>
              <a:off x="7930930" y="2925330"/>
              <a:ext cx="799678" cy="425723"/>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Data Partition 3</a:t>
              </a:r>
            </a:p>
          </p:txBody>
        </p:sp>
        <p:cxnSp>
          <p:nvCxnSpPr>
            <p:cNvPr id="40" name="Straight Arrow Connector 39"/>
            <p:cNvCxnSpPr>
              <a:stCxn id="13" idx="2"/>
              <a:endCxn id="19" idx="0"/>
            </p:cNvCxnSpPr>
            <p:nvPr/>
          </p:nvCxnSpPr>
          <p:spPr>
            <a:xfrm>
              <a:off x="7398394" y="2534700"/>
              <a:ext cx="0" cy="390630"/>
            </a:xfrm>
            <a:prstGeom prst="straightConnector1">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42" name="Elbow Connector 41"/>
            <p:cNvCxnSpPr/>
            <p:nvPr/>
          </p:nvCxnSpPr>
          <p:spPr>
            <a:xfrm rot="16200000" flipH="1">
              <a:off x="7624784" y="2239763"/>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43" name="Elbow Connector 42"/>
            <p:cNvCxnSpPr/>
            <p:nvPr/>
          </p:nvCxnSpPr>
          <p:spPr>
            <a:xfrm rot="5400000">
              <a:off x="6708672" y="2246275"/>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62" name="Elbow Connector 61"/>
            <p:cNvCxnSpPr/>
            <p:nvPr/>
          </p:nvCxnSpPr>
          <p:spPr>
            <a:xfrm rot="16200000" flipH="1">
              <a:off x="6365067" y="3497664"/>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9" idx="2"/>
              <a:endCxn id="29" idx="0"/>
            </p:cNvCxnSpPr>
            <p:nvPr/>
          </p:nvCxnSpPr>
          <p:spPr>
            <a:xfrm>
              <a:off x="7398394" y="3351053"/>
              <a:ext cx="0" cy="86352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p:nvPr/>
          </p:nvCxnSpPr>
          <p:spPr>
            <a:xfrm rot="5400000">
              <a:off x="7627074" y="3506228"/>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9452125" y="3860737"/>
              <a:ext cx="2012522" cy="11428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1" name="TextBox 70"/>
            <p:cNvSpPr txBox="1"/>
            <p:nvPr/>
          </p:nvSpPr>
          <p:spPr>
            <a:xfrm>
              <a:off x="9947602" y="4212864"/>
              <a:ext cx="1021568" cy="356151"/>
            </a:xfrm>
            <a:prstGeom prst="rect">
              <a:avLst/>
            </a:prstGeom>
            <a:solidFill>
              <a:schemeClr val="bg1"/>
            </a:solidFill>
          </p:spPr>
          <p:txBody>
            <a:bodyPr wrap="non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Reducer</a:t>
              </a:r>
            </a:p>
          </p:txBody>
        </p:sp>
        <p:sp>
          <p:nvSpPr>
            <p:cNvPr id="76" name="Rectangle 75"/>
            <p:cNvSpPr/>
            <p:nvPr/>
          </p:nvSpPr>
          <p:spPr bwMode="auto">
            <a:xfrm>
              <a:off x="9054216" y="1941496"/>
              <a:ext cx="2857962" cy="167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7" name="TextBox 76"/>
            <p:cNvSpPr txBox="1"/>
            <p:nvPr/>
          </p:nvSpPr>
          <p:spPr>
            <a:xfrm>
              <a:off x="9947602" y="2176837"/>
              <a:ext cx="1021568" cy="356151"/>
            </a:xfrm>
            <a:prstGeom prst="rect">
              <a:avLst/>
            </a:prstGeom>
            <a:solidFill>
              <a:schemeClr val="bg1"/>
            </a:solidFill>
          </p:spPr>
          <p:txBody>
            <a:bodyPr wrap="non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Mapper</a:t>
              </a:r>
            </a:p>
          </p:txBody>
        </p:sp>
        <p:sp>
          <p:nvSpPr>
            <p:cNvPr id="78" name="TextBox 77"/>
            <p:cNvSpPr txBox="1"/>
            <p:nvPr/>
          </p:nvSpPr>
          <p:spPr>
            <a:xfrm>
              <a:off x="8942947" y="1928621"/>
              <a:ext cx="698642" cy="298827"/>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Host </a:t>
              </a:r>
            </a:p>
          </p:txBody>
        </p:sp>
        <p:sp>
          <p:nvSpPr>
            <p:cNvPr id="79" name="TextBox 78"/>
            <p:cNvSpPr txBox="1"/>
            <p:nvPr/>
          </p:nvSpPr>
          <p:spPr>
            <a:xfrm>
              <a:off x="9158703" y="2923618"/>
              <a:ext cx="799678" cy="425723"/>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Data Partition 1</a:t>
              </a:r>
            </a:p>
          </p:txBody>
        </p:sp>
        <p:sp>
          <p:nvSpPr>
            <p:cNvPr id="80" name="TextBox 79"/>
            <p:cNvSpPr txBox="1"/>
            <p:nvPr/>
          </p:nvSpPr>
          <p:spPr>
            <a:xfrm>
              <a:off x="10058547" y="2923618"/>
              <a:ext cx="799678" cy="425723"/>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Data Partition 2</a:t>
              </a:r>
            </a:p>
          </p:txBody>
        </p:sp>
        <p:sp>
          <p:nvSpPr>
            <p:cNvPr id="81" name="TextBox 80"/>
            <p:cNvSpPr txBox="1"/>
            <p:nvPr/>
          </p:nvSpPr>
          <p:spPr>
            <a:xfrm>
              <a:off x="10990922" y="2923618"/>
              <a:ext cx="799678" cy="425723"/>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Data Partition 3</a:t>
              </a:r>
            </a:p>
          </p:txBody>
        </p:sp>
        <p:cxnSp>
          <p:nvCxnSpPr>
            <p:cNvPr id="82" name="Straight Arrow Connector 81"/>
            <p:cNvCxnSpPr>
              <a:stCxn id="77" idx="2"/>
              <a:endCxn id="80" idx="0"/>
            </p:cNvCxnSpPr>
            <p:nvPr/>
          </p:nvCxnSpPr>
          <p:spPr>
            <a:xfrm>
              <a:off x="10458386" y="2532988"/>
              <a:ext cx="0" cy="390630"/>
            </a:xfrm>
            <a:prstGeom prst="straightConnector1">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83" name="Elbow Connector 82"/>
            <p:cNvCxnSpPr/>
            <p:nvPr/>
          </p:nvCxnSpPr>
          <p:spPr>
            <a:xfrm rot="16200000" flipH="1">
              <a:off x="10684776" y="2227777"/>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84" name="Elbow Connector 83"/>
            <p:cNvCxnSpPr/>
            <p:nvPr/>
          </p:nvCxnSpPr>
          <p:spPr>
            <a:xfrm rot="5400000">
              <a:off x="9768664" y="2234289"/>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73" name="Elbow Connector 72"/>
            <p:cNvCxnSpPr/>
            <p:nvPr/>
          </p:nvCxnSpPr>
          <p:spPr>
            <a:xfrm rot="16200000" flipH="1">
              <a:off x="9425059" y="3495952"/>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80" idx="2"/>
              <a:endCxn id="71" idx="0"/>
            </p:cNvCxnSpPr>
            <p:nvPr/>
          </p:nvCxnSpPr>
          <p:spPr>
            <a:xfrm>
              <a:off x="10458386" y="3349341"/>
              <a:ext cx="0" cy="86352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rot="5400000">
              <a:off x="10687066" y="3504516"/>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p:nvPr/>
          </p:nvCxnSpPr>
          <p:spPr>
            <a:xfrm rot="16200000" flipH="1">
              <a:off x="9367591" y="1095885"/>
              <a:ext cx="640080" cy="1527048"/>
            </a:xfrm>
            <a:prstGeom prst="bentConnector3">
              <a:avLst>
                <a:gd name="adj1" fmla="val 2857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9" idx="2"/>
              <a:endCxn id="30" idx="0"/>
            </p:cNvCxnSpPr>
            <p:nvPr/>
          </p:nvCxnSpPr>
          <p:spPr>
            <a:xfrm>
              <a:off x="7398394" y="4570727"/>
              <a:ext cx="0" cy="87336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1" idx="2"/>
              <a:endCxn id="31" idx="0"/>
            </p:cNvCxnSpPr>
            <p:nvPr/>
          </p:nvCxnSpPr>
          <p:spPr>
            <a:xfrm>
              <a:off x="10458386" y="4569015"/>
              <a:ext cx="1" cy="87336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p:cNvCxnSpPr/>
            <p:nvPr/>
          </p:nvCxnSpPr>
          <p:spPr>
            <a:xfrm rot="5400000">
              <a:off x="7883676" y="1144916"/>
              <a:ext cx="548640" cy="1527048"/>
            </a:xfrm>
            <a:prstGeom prst="bentConnector3">
              <a:avLst>
                <a:gd name="adj1" fmla="val 17602"/>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6312753" y="3808789"/>
              <a:ext cx="698642" cy="298827"/>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Host</a:t>
              </a:r>
            </a:p>
          </p:txBody>
        </p:sp>
        <p:sp>
          <p:nvSpPr>
            <p:cNvPr id="93" name="TextBox 92"/>
            <p:cNvSpPr txBox="1"/>
            <p:nvPr/>
          </p:nvSpPr>
          <p:spPr>
            <a:xfrm>
              <a:off x="9321366" y="3827625"/>
              <a:ext cx="698642" cy="298827"/>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Host</a:t>
              </a:r>
            </a:p>
          </p:txBody>
        </p:sp>
      </p:grpSp>
      <p:sp>
        <p:nvSpPr>
          <p:cNvPr id="99" name="TextBox 98"/>
          <p:cNvSpPr txBox="1"/>
          <p:nvPr/>
        </p:nvSpPr>
        <p:spPr>
          <a:xfrm>
            <a:off x="308045" y="1396554"/>
            <a:ext cx="6301687" cy="4846737"/>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adoop divides the input file into splits and assign every split to different mapper.</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Locally Hadoop reads the split line-by-line and call map() for very line, passing it as key/value parameters</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mapper emits other intermediate key/value pairs</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ll the intermediate values for a given intermediate key are combined together into a list.</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list is given to one or more Reducers.</a:t>
            </a:r>
            <a:endPar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548640" marR="0" lvl="1" indent="-285750" algn="l" defTabSz="914400" rtl="0" eaLnBrk="1" fontAlgn="auto" latinLnBrk="0" hangingPunct="1">
              <a:lnSpc>
                <a:spcPct val="900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ll values associated with a particular intermediate key are guaranteed to go to the same Reducer</a:t>
            </a:r>
          </a:p>
          <a:p>
            <a:pPr marL="548640" marR="0" lvl="1" indent="-285750" algn="l" defTabSz="914400" rtl="0" eaLnBrk="1" fontAlgn="auto" latinLnBrk="0" hangingPunct="1">
              <a:lnSpc>
                <a:spcPct val="900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intermediate keys, and their value lists, are passed to the Reducer in sorted key order – This step is known as the ‘shuffle and sort’</a:t>
            </a:r>
          </a:p>
          <a:p>
            <a:pPr marL="548640" marR="0" lvl="1" indent="-285750" algn="l" defTabSz="914400" rtl="0" eaLnBrk="1" fontAlgn="auto" latinLnBrk="0" hangingPunct="1">
              <a:lnSpc>
                <a:spcPct val="900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adoop calls reduce() on every line of the input</a:t>
            </a:r>
          </a:p>
          <a:p>
            <a:pPr marL="548640" marR="0" lvl="1" indent="-285750" algn="l" defTabSz="914400" rtl="0" eaLnBrk="1" fontAlgn="auto" latinLnBrk="0" hangingPunct="1">
              <a:lnSpc>
                <a:spcPct val="900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Reducer outputs zero or more final key/value pairs. These are written to HDFS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8" name="TextBox 7"/>
          <p:cNvSpPr txBox="1"/>
          <p:nvPr/>
        </p:nvSpPr>
        <p:spPr>
          <a:xfrm>
            <a:off x="9164785" y="2838263"/>
            <a:ext cx="410701" cy="271793"/>
          </a:xfrm>
          <a:prstGeom prst="rect">
            <a:avLst/>
          </a:prstGeom>
          <a:noFill/>
        </p:spPr>
        <p:txBody>
          <a:bodyPr wrap="none" lIns="91440" tIns="0" rIns="9144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t>
            </a:r>
          </a:p>
        </p:txBody>
      </p:sp>
    </p:spTree>
    <p:extLst>
      <p:ext uri="{BB962C8B-B14F-4D97-AF65-F5344CB8AC3E}">
        <p14:creationId xmlns:p14="http://schemas.microsoft.com/office/powerpoint/2010/main" val="1292262298"/>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 Code in Hadoop</a:t>
            </a:r>
          </a:p>
        </p:txBody>
      </p:sp>
      <p:sp>
        <p:nvSpPr>
          <p:cNvPr id="3" name="Content Placeholder 2"/>
          <p:cNvSpPr>
            <a:spLocks noGrp="1"/>
          </p:cNvSpPr>
          <p:nvPr>
            <p:ph sz="quarter" idx="10"/>
          </p:nvPr>
        </p:nvSpPr>
        <p:spPr>
          <a:xfrm>
            <a:off x="99928" y="810705"/>
            <a:ext cx="9194901" cy="3699744"/>
          </a:xfrm>
        </p:spPr>
        <p:txBody>
          <a:bodyPr/>
          <a:lstStyle/>
          <a:p>
            <a:r>
              <a:rPr lang="en-GB" dirty="0"/>
              <a:t>Usually written in Java and compiled as a Jar</a:t>
            </a:r>
          </a:p>
        </p:txBody>
      </p:sp>
      <p:sp>
        <p:nvSpPr>
          <p:cNvPr id="5" name="Rectangle 4"/>
          <p:cNvSpPr/>
          <p:nvPr/>
        </p:nvSpPr>
        <p:spPr>
          <a:xfrm>
            <a:off x="235487" y="1940180"/>
            <a:ext cx="11812486" cy="493981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Map extends Mapper&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final static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one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1);</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Text word = new 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map(</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key, Text value, Context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tring line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ue.toString</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i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while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hasMoreTokens</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word.s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nextToken</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word, 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Reduce extends Reducer&lt;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reduce(Text key,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ter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values, Context con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0;</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for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values)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g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key,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um));</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5516458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Hive?</a:t>
            </a:r>
          </a:p>
          <a:p>
            <a:r>
              <a:rPr lang="en-GB" dirty="0"/>
              <a:t>Creating Hive Tables</a:t>
            </a:r>
          </a:p>
          <a:p>
            <a:r>
              <a:rPr lang="en-GB" dirty="0"/>
              <a:t>Loading Data into Hive Tables</a:t>
            </a:r>
          </a:p>
          <a:p>
            <a:r>
              <a:rPr lang="en-GB" dirty="0"/>
              <a:t>Querying Hive Tables</a:t>
            </a:r>
          </a:p>
          <a:p>
            <a:r>
              <a:rPr lang="en-GB" dirty="0"/>
              <a:t>Using Hive with PowerShell</a:t>
            </a:r>
          </a:p>
        </p:txBody>
      </p:sp>
      <p:sp>
        <p:nvSpPr>
          <p:cNvPr id="2" name="Title 1"/>
          <p:cNvSpPr>
            <a:spLocks noGrp="1"/>
          </p:cNvSpPr>
          <p:nvPr>
            <p:ph type="title"/>
          </p:nvPr>
        </p:nvSpPr>
        <p:spPr/>
        <p:txBody>
          <a:bodyPr/>
          <a:lstStyle/>
          <a:p>
            <a:r>
              <a:rPr lang="en-US" dirty="0"/>
              <a:t>Hive Overview</a:t>
            </a:r>
          </a:p>
        </p:txBody>
      </p:sp>
    </p:spTree>
    <p:extLst>
      <p:ext uri="{BB962C8B-B14F-4D97-AF65-F5344CB8AC3E}">
        <p14:creationId xmlns:p14="http://schemas.microsoft.com/office/powerpoint/2010/main" val="3732770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05C5311-C87B-4F51-BF19-10BE39BF7AAD}"/>
              </a:ext>
            </a:extLst>
          </p:cNvPr>
          <p:cNvSpPr>
            <a:spLocks noGrp="1"/>
          </p:cNvSpPr>
          <p:nvPr>
            <p:ph type="title"/>
          </p:nvPr>
        </p:nvSpPr>
        <p:spPr>
          <a:xfrm>
            <a:off x="274639" y="295274"/>
            <a:ext cx="11889564" cy="917575"/>
          </a:xfrm>
        </p:spPr>
        <p:txBody>
          <a:bodyPr/>
          <a:lstStyle/>
          <a:p>
            <a:r>
              <a:rPr lang="en-US" dirty="0"/>
              <a:t>Lambda Architecture – batch characteristics</a:t>
            </a:r>
          </a:p>
        </p:txBody>
      </p:sp>
      <p:sp>
        <p:nvSpPr>
          <p:cNvPr id="7" name="Text Placeholder 2">
            <a:extLst>
              <a:ext uri="{FF2B5EF4-FFF2-40B4-BE49-F238E27FC236}">
                <a16:creationId xmlns:a16="http://schemas.microsoft.com/office/drawing/2014/main" id="{8585BDA8-2830-4AF1-AD0F-2D96C60D6B1C}"/>
              </a:ext>
            </a:extLst>
          </p:cNvPr>
          <p:cNvSpPr txBox="1">
            <a:spLocks/>
          </p:cNvSpPr>
          <p:nvPr/>
        </p:nvSpPr>
        <p:spPr>
          <a:xfrm>
            <a:off x="274638" y="1212850"/>
            <a:ext cx="11887200" cy="498905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r>
              <a:rPr lang="en-US" sz="2600" dirty="0"/>
              <a:t>Key Principles of Batch</a:t>
            </a:r>
          </a:p>
          <a:p>
            <a:pPr marL="571500" lvl="1" indent="-571500">
              <a:buFont typeface="Arial" pitchFamily="34" charset="0"/>
              <a:buChar char="•"/>
            </a:pPr>
            <a:r>
              <a:rPr lang="en-US" sz="2400" dirty="0"/>
              <a:t>The Batch Layer looks at all data at once.</a:t>
            </a:r>
          </a:p>
          <a:p>
            <a:pPr marL="571500" lvl="1" indent="-571500">
              <a:buFont typeface="Arial" pitchFamily="34" charset="0"/>
              <a:buChar char="•"/>
            </a:pPr>
            <a:r>
              <a:rPr lang="en-US" sz="2400" dirty="0"/>
              <a:t>The Batch Layer will eventually correct the Speed Layer.</a:t>
            </a:r>
          </a:p>
          <a:p>
            <a:pPr marL="571500" lvl="1" indent="-571500">
              <a:buFont typeface="Arial" pitchFamily="34" charset="0"/>
              <a:buChar char="•"/>
            </a:pPr>
            <a:r>
              <a:rPr lang="en-US" sz="2400" dirty="0"/>
              <a:t>The Serving Layer provides de-normalized views that are continually produced from the Batch Layer and intended to support random access reads.</a:t>
            </a:r>
          </a:p>
          <a:p>
            <a:pPr marL="571500" indent="-571500"/>
            <a:r>
              <a:rPr lang="en-US" sz="2600" dirty="0"/>
              <a:t>Functional Summary</a:t>
            </a:r>
          </a:p>
          <a:p>
            <a:pPr marL="571500" lvl="2" indent="-342900"/>
            <a:r>
              <a:rPr lang="en-US" dirty="0"/>
              <a:t>Batch View = function (all data)</a:t>
            </a:r>
          </a:p>
          <a:p>
            <a:pPr marL="571500" lvl="2" indent="-342900"/>
            <a:r>
              <a:rPr lang="en-US" dirty="0"/>
              <a:t>Real-time View = function (current real-time view, new data)</a:t>
            </a:r>
          </a:p>
          <a:p>
            <a:pPr marL="571500" lvl="2" indent="-342900"/>
            <a:r>
              <a:rPr lang="en-US" dirty="0"/>
              <a:t>Query = function (batch view, real-time view)</a:t>
            </a:r>
          </a:p>
          <a:p>
            <a:endParaRPr lang="en-US" dirty="0"/>
          </a:p>
        </p:txBody>
      </p:sp>
    </p:spTree>
    <p:extLst>
      <p:ext uri="{BB962C8B-B14F-4D97-AF65-F5344CB8AC3E}">
        <p14:creationId xmlns:p14="http://schemas.microsoft.com/office/powerpoint/2010/main" val="39717554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5731" y="1097658"/>
            <a:ext cx="1086317" cy="1463387"/>
          </a:xfrm>
          <a:prstGeom prst="rect">
            <a:avLst/>
          </a:prstGeom>
        </p:spPr>
      </p:pic>
      <p:sp>
        <p:nvSpPr>
          <p:cNvPr id="2" name="Title 1"/>
          <p:cNvSpPr>
            <a:spLocks noGrp="1"/>
          </p:cNvSpPr>
          <p:nvPr>
            <p:ph type="title"/>
          </p:nvPr>
        </p:nvSpPr>
        <p:spPr/>
        <p:txBody>
          <a:bodyPr/>
          <a:lstStyle/>
          <a:p>
            <a:r>
              <a:rPr lang="en-GB" dirty="0"/>
              <a:t>What is Hive?</a:t>
            </a:r>
            <a:endParaRPr lang="en-US" dirty="0"/>
          </a:p>
        </p:txBody>
      </p:sp>
      <p:sp>
        <p:nvSpPr>
          <p:cNvPr id="3" name="Content Placeholder 2"/>
          <p:cNvSpPr>
            <a:spLocks noGrp="1"/>
          </p:cNvSpPr>
          <p:nvPr>
            <p:ph sz="quarter" idx="10"/>
          </p:nvPr>
        </p:nvSpPr>
        <p:spPr>
          <a:xfrm>
            <a:off x="379413" y="2963008"/>
            <a:ext cx="11393487" cy="3715606"/>
          </a:xfrm>
        </p:spPr>
        <p:txBody>
          <a:bodyPr/>
          <a:lstStyle/>
          <a:p>
            <a:r>
              <a:rPr lang="en-GB" dirty="0"/>
              <a:t>A metadata service that projects tabular schemas over HDFS folders</a:t>
            </a:r>
          </a:p>
          <a:p>
            <a:r>
              <a:rPr lang="en-GB" dirty="0"/>
              <a:t>Enables the contents of folders to be queried as tables, using SQL-like query semantics</a:t>
            </a:r>
          </a:p>
          <a:p>
            <a:r>
              <a:rPr lang="en-GB" dirty="0"/>
              <a:t>Queries are translated into Map/Reduce jobs</a:t>
            </a:r>
            <a:endParaRPr lang="en-US" dirty="0"/>
          </a:p>
        </p:txBody>
      </p:sp>
      <p:graphicFrame>
        <p:nvGraphicFramePr>
          <p:cNvPr id="6" name="Table 5"/>
          <p:cNvGraphicFramePr>
            <a:graphicFrameLocks noGrp="1"/>
          </p:cNvGraphicFramePr>
          <p:nvPr>
            <p:extLst/>
          </p:nvPr>
        </p:nvGraphicFramePr>
        <p:xfrm>
          <a:off x="4463320" y="1821112"/>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TextBox 8"/>
          <p:cNvSpPr txBox="1"/>
          <p:nvPr/>
        </p:nvSpPr>
        <p:spPr>
          <a:xfrm>
            <a:off x="2611314" y="2043668"/>
            <a:ext cx="1149674" cy="369332"/>
          </a:xfrm>
          <a:prstGeom prst="rect">
            <a:avLst/>
          </a:prstGeom>
          <a:noFill/>
        </p:spPr>
        <p:txBody>
          <a:bodyPr wrap="none" rtlCol="0">
            <a:spAutoFit/>
          </a:bodyPr>
          <a:lstStyle/>
          <a:p>
            <a:r>
              <a:rPr lang="en-GB" dirty="0">
                <a:latin typeface="Courier New" panose="02070309020205020404" pitchFamily="49" charset="0"/>
                <a:cs typeface="Courier New" panose="02070309020205020404" pitchFamily="49" charset="0"/>
              </a:rPr>
              <a:t>SELECT…</a:t>
            </a:r>
            <a:endParaRPr lang="en-US" dirty="0">
              <a:latin typeface="Courier New" panose="02070309020205020404" pitchFamily="49" charset="0"/>
              <a:cs typeface="Courier New" panose="02070309020205020404" pitchFamily="49" charset="0"/>
            </a:endParaRPr>
          </a:p>
        </p:txBody>
      </p:sp>
      <p:cxnSp>
        <p:nvCxnSpPr>
          <p:cNvPr id="11" name="Straight Arrow Connector 10"/>
          <p:cNvCxnSpPr>
            <a:stCxn id="9" idx="3"/>
            <a:endCxn id="6" idx="1"/>
          </p:cNvCxnSpPr>
          <p:nvPr/>
        </p:nvCxnSpPr>
        <p:spPr>
          <a:xfrm>
            <a:off x="3760988" y="2228334"/>
            <a:ext cx="702332" cy="10910"/>
          </a:xfrm>
          <a:prstGeom prst="straightConnector1">
            <a:avLst/>
          </a:prstGeom>
          <a:ln>
            <a:headEnd type="triangle" w="med" len="med"/>
            <a:tailEnd type="triangl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6548551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0D067-3A8C-43EE-9DB4-3C748E2C0F22}"/>
              </a:ext>
            </a:extLst>
          </p:cNvPr>
          <p:cNvSpPr>
            <a:spLocks noGrp="1"/>
          </p:cNvSpPr>
          <p:nvPr>
            <p:ph type="title"/>
          </p:nvPr>
        </p:nvSpPr>
        <p:spPr/>
        <p:txBody>
          <a:bodyPr/>
          <a:lstStyle/>
          <a:p>
            <a:r>
              <a:rPr lang="en-US" dirty="0"/>
              <a:t>Hive query language</a:t>
            </a:r>
          </a:p>
        </p:txBody>
      </p:sp>
      <p:sp>
        <p:nvSpPr>
          <p:cNvPr id="3" name="Content Placeholder 2">
            <a:extLst>
              <a:ext uri="{FF2B5EF4-FFF2-40B4-BE49-F238E27FC236}">
                <a16:creationId xmlns:a16="http://schemas.microsoft.com/office/drawing/2014/main" id="{8F286D9E-31F3-4E74-8745-DD95E07AEB77}"/>
              </a:ext>
            </a:extLst>
          </p:cNvPr>
          <p:cNvSpPr>
            <a:spLocks noGrp="1"/>
          </p:cNvSpPr>
          <p:nvPr>
            <p:ph sz="quarter" idx="10"/>
          </p:nvPr>
        </p:nvSpPr>
        <p:spPr>
          <a:xfrm>
            <a:off x="379514" y="946266"/>
            <a:ext cx="11525250" cy="5290388"/>
          </a:xfrm>
        </p:spPr>
        <p:txBody>
          <a:bodyPr/>
          <a:lstStyle/>
          <a:p>
            <a:r>
              <a:rPr lang="en-US" sz="2400" dirty="0"/>
              <a:t>SQL-like syntax: SELECT … FROM … WHERE </a:t>
            </a:r>
          </a:p>
          <a:p>
            <a:r>
              <a:rPr lang="en-US" sz="2400" dirty="0"/>
              <a:t>ALL and DISTINCT</a:t>
            </a:r>
          </a:p>
          <a:p>
            <a:r>
              <a:rPr lang="en-US" sz="2400" dirty="0"/>
              <a:t>Support for Partitioning</a:t>
            </a:r>
          </a:p>
          <a:p>
            <a:r>
              <a:rPr lang="en-US" sz="2400" dirty="0"/>
              <a:t>GROUP BY</a:t>
            </a:r>
          </a:p>
          <a:p>
            <a:r>
              <a:rPr lang="en-US" sz="2400" dirty="0"/>
              <a:t>SORT BY, ORDER BY, CLUSTER BY, DISTRIBUTE BY</a:t>
            </a:r>
          </a:p>
          <a:p>
            <a:r>
              <a:rPr lang="en-US" sz="2400" dirty="0"/>
              <a:t>JOINs: LEFT, RIGHT, FULL, OUTER, LEFT SEMI, CROSS JOIN</a:t>
            </a:r>
          </a:p>
          <a:p>
            <a:r>
              <a:rPr lang="en-US" sz="2400" dirty="0"/>
              <a:t>Built-in: Operators, Functions, Aggregate Functions</a:t>
            </a:r>
          </a:p>
          <a:p>
            <a:r>
              <a:rPr lang="en-US" sz="2400" dirty="0"/>
              <a:t>User Defined Functions (UDFs)</a:t>
            </a:r>
          </a:p>
          <a:p>
            <a:r>
              <a:rPr lang="en-US" sz="2400" dirty="0"/>
              <a:t>Support for Subqueries</a:t>
            </a:r>
          </a:p>
          <a:p>
            <a:r>
              <a:rPr lang="en-US" sz="2400" dirty="0"/>
              <a:t>Windowing and Analytics Functions</a:t>
            </a:r>
          </a:p>
          <a:p>
            <a:endParaRPr lang="en-US" dirty="0"/>
          </a:p>
        </p:txBody>
      </p:sp>
    </p:spTree>
    <p:extLst>
      <p:ext uri="{BB962C8B-B14F-4D97-AF65-F5344CB8AC3E}">
        <p14:creationId xmlns:p14="http://schemas.microsoft.com/office/powerpoint/2010/main" val="9507127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ing Hive Tables</a:t>
            </a:r>
            <a:endParaRPr lang="en-US" dirty="0"/>
          </a:p>
        </p:txBody>
      </p:sp>
      <p:sp>
        <p:nvSpPr>
          <p:cNvPr id="3" name="Content Placeholder 2"/>
          <p:cNvSpPr>
            <a:spLocks noGrp="1"/>
          </p:cNvSpPr>
          <p:nvPr>
            <p:ph sz="quarter" idx="10"/>
          </p:nvPr>
        </p:nvSpPr>
        <p:spPr/>
        <p:txBody>
          <a:bodyPr/>
          <a:lstStyle/>
          <a:p>
            <a:r>
              <a:rPr lang="en-US" dirty="0"/>
              <a:t>Use the CREATE TABLE </a:t>
            </a:r>
            <a:r>
              <a:rPr lang="en-US" dirty="0" err="1"/>
              <a:t>HiveQL</a:t>
            </a:r>
            <a:r>
              <a:rPr lang="en-US" dirty="0"/>
              <a:t> statement</a:t>
            </a:r>
          </a:p>
          <a:p>
            <a:pPr lvl="1"/>
            <a:r>
              <a:rPr lang="en-US" dirty="0"/>
              <a:t>Defines schema metadata to be projected onto data</a:t>
            </a:r>
          </a:p>
          <a:p>
            <a:pPr marL="457046" lvl="1" indent="0">
              <a:buNone/>
            </a:pPr>
            <a:r>
              <a:rPr lang="en-US" dirty="0"/>
              <a:t>   in a folder when the table is queried (</a:t>
            </a:r>
            <a:r>
              <a:rPr lang="en-US" i="1" dirty="0"/>
              <a:t>not</a:t>
            </a:r>
            <a:r>
              <a:rPr lang="en-US" dirty="0"/>
              <a:t> when it is created)</a:t>
            </a:r>
          </a:p>
          <a:p>
            <a:r>
              <a:rPr lang="en-US" dirty="0"/>
              <a:t>Specify file format and file location</a:t>
            </a:r>
          </a:p>
          <a:p>
            <a:pPr lvl="1"/>
            <a:r>
              <a:rPr lang="en-US" dirty="0"/>
              <a:t>Defaults to </a:t>
            </a:r>
            <a:r>
              <a:rPr lang="en-US" dirty="0" err="1"/>
              <a:t>sequencefile</a:t>
            </a:r>
            <a:r>
              <a:rPr lang="en-US" dirty="0"/>
              <a:t> format in the /hive/warehouse/&lt;</a:t>
            </a:r>
            <a:r>
              <a:rPr lang="en-US" i="1" dirty="0" err="1"/>
              <a:t>table_name</a:t>
            </a:r>
            <a:r>
              <a:rPr lang="en-US" dirty="0"/>
              <a:t>&gt; folder</a:t>
            </a:r>
          </a:p>
          <a:p>
            <a:r>
              <a:rPr lang="en-US" dirty="0"/>
              <a:t>Create </a:t>
            </a:r>
            <a:r>
              <a:rPr lang="en-US" i="1" dirty="0"/>
              <a:t>internal</a:t>
            </a:r>
            <a:r>
              <a:rPr lang="en-US" dirty="0"/>
              <a:t> or </a:t>
            </a:r>
            <a:r>
              <a:rPr lang="en-US" i="1" dirty="0"/>
              <a:t>external</a:t>
            </a:r>
            <a:r>
              <a:rPr lang="en-US" dirty="0"/>
              <a:t> tables</a:t>
            </a:r>
          </a:p>
          <a:p>
            <a:pPr lvl="1"/>
            <a:r>
              <a:rPr lang="en-US" dirty="0"/>
              <a:t>Internal tables manage the lifetime of the underlying folders</a:t>
            </a:r>
          </a:p>
          <a:p>
            <a:pPr lvl="1"/>
            <a:r>
              <a:rPr lang="en-US" dirty="0"/>
              <a:t>External tables are managed independently from folders</a:t>
            </a:r>
          </a:p>
          <a:p>
            <a:pPr marL="0" indent="0">
              <a:buNone/>
            </a:pPr>
            <a:endParaRPr lang="en-US" dirty="0"/>
          </a:p>
        </p:txBody>
      </p:sp>
    </p:spTree>
    <p:extLst>
      <p:ext uri="{BB962C8B-B14F-4D97-AF65-F5344CB8AC3E}">
        <p14:creationId xmlns:p14="http://schemas.microsoft.com/office/powerpoint/2010/main" val="4441682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E TABLE</a:t>
            </a:r>
            <a:endParaRPr lang="en-US" dirty="0"/>
          </a:p>
        </p:txBody>
      </p:sp>
      <p:sp>
        <p:nvSpPr>
          <p:cNvPr id="5" name="Rectangle 4"/>
          <p:cNvSpPr/>
          <p:nvPr/>
        </p:nvSpPr>
        <p:spPr>
          <a:xfrm>
            <a:off x="298938" y="1427917"/>
            <a:ext cx="6550269" cy="1077218"/>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1</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endParaRPr lang="en-GB" sz="1600" dirty="0">
              <a:latin typeface="Courier New" panose="02070309020205020404" pitchFamily="49" charset="0"/>
              <a:cs typeface="Courier New" panose="02070309020205020404" pitchFamily="49" charset="0"/>
            </a:endParaRPr>
          </a:p>
        </p:txBody>
      </p:sp>
      <p:sp>
        <p:nvSpPr>
          <p:cNvPr id="6" name="Rectangle 5"/>
          <p:cNvSpPr/>
          <p:nvPr/>
        </p:nvSpPr>
        <p:spPr>
          <a:xfrm>
            <a:off x="298937" y="3245328"/>
            <a:ext cx="6550269"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2</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data/table2'</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7" name="Rectangle 6"/>
          <p:cNvSpPr/>
          <p:nvPr/>
        </p:nvSpPr>
        <p:spPr>
          <a:xfrm>
            <a:off x="298937" y="5292281"/>
            <a:ext cx="6805248"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EXTERNAL TABLE table3</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a:t>
            </a:r>
            <a:r>
              <a:rPr lang="en-US" sz="1600" dirty="0">
                <a:latin typeface="Courier New" panose="02070309020205020404" pitchFamily="49" charset="0"/>
                <a:cs typeface="Courier New" panose="02070309020205020404" pitchFamily="49" charset="0"/>
              </a:rPr>
              <a:t>'</a:t>
            </a:r>
            <a:r>
              <a:rPr lang="en-US" sz="1600" dirty="0" err="1">
                <a:latin typeface="Courier New" panose="02070309020205020404" pitchFamily="49" charset="0"/>
                <a:cs typeface="Courier New" panose="02070309020205020404" pitchFamily="49" charset="0"/>
              </a:rPr>
              <a:t>wasbs</a:t>
            </a:r>
            <a:r>
              <a:rPr lang="en-US" sz="1600" dirty="0">
                <a:latin typeface="Courier New" panose="02070309020205020404" pitchFamily="49" charset="0"/>
                <a:cs typeface="Courier New" panose="02070309020205020404" pitchFamily="49" charset="0"/>
              </a:rPr>
              <a:t>:///example/data/</a:t>
            </a:r>
            <a:r>
              <a:rPr lang="en-GB" sz="1600" dirty="0">
                <a:latin typeface="Courier New" panose="02070309020205020404" pitchFamily="49" charset="0"/>
                <a:cs typeface="Courier New" panose="02070309020205020404" pitchFamily="49" charset="0"/>
              </a:rPr>
              <a:t>'</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8" name="Rounded Rectangular Callout 7"/>
          <p:cNvSpPr/>
          <p:nvPr/>
        </p:nvSpPr>
        <p:spPr>
          <a:xfrm>
            <a:off x="4765431" y="639396"/>
            <a:ext cx="2338754" cy="908050"/>
          </a:xfrm>
          <a:prstGeom prst="wedgeRoundRectCallout">
            <a:avLst>
              <a:gd name="adj1" fmla="val -133662"/>
              <a:gd name="adj2" fmla="val 5304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Internal table (folders deleted when table is dropped)</a:t>
            </a:r>
          </a:p>
        </p:txBody>
      </p:sp>
      <p:sp>
        <p:nvSpPr>
          <p:cNvPr id="9" name="Rounded Rectangular Callout 8"/>
          <p:cNvSpPr/>
          <p:nvPr/>
        </p:nvSpPr>
        <p:spPr>
          <a:xfrm>
            <a:off x="6150523" y="2536633"/>
            <a:ext cx="2813538" cy="908050"/>
          </a:xfrm>
          <a:prstGeom prst="wedgeRoundRectCallout">
            <a:avLst>
              <a:gd name="adj1" fmla="val -228350"/>
              <a:gd name="adj2" fmla="val -5055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Default location (/hive/warehouse/table1)</a:t>
            </a:r>
            <a:endParaRPr lang="en-US" dirty="0"/>
          </a:p>
        </p:txBody>
      </p:sp>
      <p:sp>
        <p:nvSpPr>
          <p:cNvPr id="10" name="Rounded Rectangular Callout 9"/>
          <p:cNvSpPr/>
          <p:nvPr/>
        </p:nvSpPr>
        <p:spPr>
          <a:xfrm>
            <a:off x="8078826" y="3947170"/>
            <a:ext cx="3729242" cy="973399"/>
          </a:xfrm>
          <a:prstGeom prst="wedgeRoundRectCallout">
            <a:avLst>
              <a:gd name="adj1" fmla="val -113008"/>
              <a:gd name="adj2" fmla="val -301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Stored in a custom location (but still internal, so the folder is deleted when table is dropped)</a:t>
            </a:r>
            <a:endParaRPr lang="en-US" dirty="0"/>
          </a:p>
        </p:txBody>
      </p:sp>
      <p:sp>
        <p:nvSpPr>
          <p:cNvPr id="11" name="Rounded Rectangular Callout 10"/>
          <p:cNvSpPr/>
          <p:nvPr/>
        </p:nvSpPr>
        <p:spPr>
          <a:xfrm>
            <a:off x="7360787" y="5540231"/>
            <a:ext cx="3729242" cy="973399"/>
          </a:xfrm>
          <a:prstGeom prst="wedgeRoundRectCallout">
            <a:avLst>
              <a:gd name="adj1" fmla="val -141300"/>
              <a:gd name="adj2" fmla="val -5539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External table (folders and files are left intact in Azure Blob Store when the table is dropped)</a:t>
            </a:r>
            <a:endParaRPr lang="en-US" dirty="0"/>
          </a:p>
        </p:txBody>
      </p:sp>
    </p:spTree>
    <p:extLst>
      <p:ext uri="{BB962C8B-B14F-4D97-AF65-F5344CB8AC3E}">
        <p14:creationId xmlns:p14="http://schemas.microsoft.com/office/powerpoint/2010/main" val="5085991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ading Data into Hive Tables</a:t>
            </a:r>
            <a:endParaRPr lang="en-US" dirty="0"/>
          </a:p>
        </p:txBody>
      </p:sp>
      <p:sp>
        <p:nvSpPr>
          <p:cNvPr id="3" name="Content Placeholder 2"/>
          <p:cNvSpPr>
            <a:spLocks noGrp="1"/>
          </p:cNvSpPr>
          <p:nvPr>
            <p:ph sz="quarter" idx="10"/>
          </p:nvPr>
        </p:nvSpPr>
        <p:spPr/>
        <p:txBody>
          <a:bodyPr/>
          <a:lstStyle/>
          <a:p>
            <a:r>
              <a:rPr lang="en-US" dirty="0"/>
              <a:t>Save data files in table folders</a:t>
            </a:r>
          </a:p>
          <a:p>
            <a:r>
              <a:rPr lang="en-US" dirty="0"/>
              <a:t>Use the LOAD statement</a:t>
            </a:r>
          </a:p>
          <a:p>
            <a:pPr lvl="1"/>
            <a:r>
              <a:rPr lang="en-US" dirty="0"/>
              <a:t>Moves or copies files to the appropriate folder</a:t>
            </a:r>
          </a:p>
          <a:p>
            <a:pPr lvl="1"/>
            <a:endParaRPr lang="en-US" dirty="0"/>
          </a:p>
          <a:p>
            <a:r>
              <a:rPr lang="en-US" dirty="0"/>
              <a:t>Use the INSERT statement</a:t>
            </a:r>
          </a:p>
          <a:p>
            <a:pPr lvl="1"/>
            <a:r>
              <a:rPr lang="en-US" dirty="0"/>
              <a:t>Inserts data from one table to another</a:t>
            </a:r>
          </a:p>
          <a:p>
            <a:endParaRPr lang="en-US" dirty="0"/>
          </a:p>
        </p:txBody>
      </p:sp>
      <p:sp>
        <p:nvSpPr>
          <p:cNvPr id="5" name="Rectangle 4"/>
          <p:cNvSpPr/>
          <p:nvPr/>
        </p:nvSpPr>
        <p:spPr>
          <a:xfrm>
            <a:off x="2098430" y="3193758"/>
            <a:ext cx="9322777" cy="369332"/>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LOAD DATA LOCAL INPATH '/data/source' INTO TABLE </a:t>
            </a:r>
            <a:r>
              <a:rPr lang="en-US" dirty="0" err="1">
                <a:latin typeface="Courier New" panose="02070309020205020404" pitchFamily="49" charset="0"/>
                <a:cs typeface="Courier New" panose="02070309020205020404" pitchFamily="49" charset="0"/>
              </a:rPr>
              <a:t>MyTable</a:t>
            </a:r>
            <a:r>
              <a:rPr lang="en-US" dirty="0">
                <a:latin typeface="Courier New" panose="02070309020205020404" pitchFamily="49" charset="0"/>
                <a:cs typeface="Courier New" panose="02070309020205020404" pitchFamily="49" charset="0"/>
              </a:rPr>
              <a:t>; </a:t>
            </a:r>
          </a:p>
        </p:txBody>
      </p:sp>
      <p:sp>
        <p:nvSpPr>
          <p:cNvPr id="6" name="Rectangle 5"/>
          <p:cNvSpPr/>
          <p:nvPr/>
        </p:nvSpPr>
        <p:spPr>
          <a:xfrm>
            <a:off x="621506" y="4813719"/>
            <a:ext cx="10472738" cy="369332"/>
          </a:xfrm>
          <a:prstGeom prst="rect">
            <a:avLst/>
          </a:prstGeom>
        </p:spPr>
        <p:txBody>
          <a:bodyPr wrap="square">
            <a:spAutoFit/>
          </a:bodyPr>
          <a:lstStyle/>
          <a:p>
            <a:r>
              <a:rPr lang="en-US" dirty="0"/>
              <a:t>INSERT OVERWRITE TABLE </a:t>
            </a:r>
            <a:r>
              <a:rPr lang="en-US" dirty="0" err="1"/>
              <a:t>errorLogs</a:t>
            </a:r>
            <a:r>
              <a:rPr lang="en-US" dirty="0"/>
              <a:t> SELECT t1, t2, t3, t4, t5, t6, t7 FROM log4jLogs WHERE t4 = '[ERROR]';</a:t>
            </a:r>
            <a:endParaRPr lang="en-GB"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893809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erying Hive Tables with </a:t>
            </a:r>
            <a:r>
              <a:rPr lang="en-GB" dirty="0" err="1"/>
              <a:t>HiveQL</a:t>
            </a:r>
            <a:endParaRPr lang="en-US" dirty="0"/>
          </a:p>
        </p:txBody>
      </p:sp>
      <p:sp>
        <p:nvSpPr>
          <p:cNvPr id="3" name="Content Placeholder 2"/>
          <p:cNvSpPr>
            <a:spLocks noGrp="1"/>
          </p:cNvSpPr>
          <p:nvPr>
            <p:ph sz="quarter" idx="10"/>
          </p:nvPr>
        </p:nvSpPr>
        <p:spPr>
          <a:xfrm>
            <a:off x="379413" y="2057400"/>
            <a:ext cx="11525250" cy="4621214"/>
          </a:xfrm>
        </p:spPr>
        <p:txBody>
          <a:bodyPr/>
          <a:lstStyle/>
          <a:p>
            <a:r>
              <a:rPr lang="en-US" dirty="0"/>
              <a:t>Query data using the SELECT statement</a:t>
            </a:r>
          </a:p>
          <a:p>
            <a:r>
              <a:rPr lang="en-US" dirty="0"/>
              <a:t>Hive translates the query into Map/Reduce jobs and applies the table schema to the underlying data files</a:t>
            </a:r>
          </a:p>
          <a:p>
            <a:endParaRPr lang="en-US" dirty="0"/>
          </a:p>
        </p:txBody>
      </p:sp>
      <p:sp>
        <p:nvSpPr>
          <p:cNvPr id="5" name="Rectangle 4"/>
          <p:cNvSpPr/>
          <p:nvPr/>
        </p:nvSpPr>
        <p:spPr>
          <a:xfrm>
            <a:off x="2237152" y="4189046"/>
            <a:ext cx="8557846" cy="1477328"/>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SELECT Col1, SUM(Col2) AS TotalCol2</a:t>
            </a:r>
          </a:p>
          <a:p>
            <a:r>
              <a:rPr lang="en-US" dirty="0">
                <a:latin typeface="Courier New" panose="02070309020205020404" pitchFamily="49" charset="0"/>
                <a:cs typeface="Courier New" panose="02070309020205020404" pitchFamily="49" charset="0"/>
              </a:rPr>
              <a:t>FROM </a:t>
            </a:r>
            <a:r>
              <a:rPr lang="en-US" dirty="0" err="1">
                <a:latin typeface="Courier New" panose="02070309020205020404" pitchFamily="49" charset="0"/>
                <a:cs typeface="Courier New" panose="02070309020205020404" pitchFamily="49" charset="0"/>
              </a:rPr>
              <a:t>MyTable</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WHERE Col1 &gt;= '2013-06-01' AND Col1 &lt;= '2013-06-30'</a:t>
            </a:r>
          </a:p>
          <a:p>
            <a:r>
              <a:rPr lang="en-GB" dirty="0">
                <a:latin typeface="Courier New" panose="02070309020205020404" pitchFamily="49" charset="0"/>
                <a:cs typeface="Courier New" panose="02070309020205020404" pitchFamily="49" charset="0"/>
              </a:rPr>
              <a:t>GROUP BY Col1</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ORDER BY Col1;</a:t>
            </a:r>
          </a:p>
        </p:txBody>
      </p:sp>
    </p:spTree>
    <p:extLst>
      <p:ext uri="{BB962C8B-B14F-4D97-AF65-F5344CB8AC3E}">
        <p14:creationId xmlns:p14="http://schemas.microsoft.com/office/powerpoint/2010/main" val="6446741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nvSpPr>
        <p:spPr bwMode="auto">
          <a:xfrm>
            <a:off x="5726549" y="1963780"/>
            <a:ext cx="5507449" cy="3261366"/>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0" y="4345"/>
            <a:ext cx="11653523" cy="927940"/>
          </a:xfrm>
        </p:spPr>
        <p:txBody>
          <a:bodyPr/>
          <a:lstStyle/>
          <a:p>
            <a:r>
              <a:rPr lang="en-US" dirty="0" err="1"/>
              <a:t>HiveQL</a:t>
            </a:r>
            <a:r>
              <a:rPr lang="en-US" dirty="0"/>
              <a:t>: Execution Flow   </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46</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3"/>
          <p:cNvSpPr/>
          <p:nvPr/>
        </p:nvSpPr>
        <p:spPr bwMode="auto">
          <a:xfrm>
            <a:off x="5726549" y="5819505"/>
            <a:ext cx="5507449" cy="8511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70" rtl="0" eaLnBrk="1" fontAlgn="base" latinLnBrk="0" hangingPunct="1">
              <a:lnSpc>
                <a:spcPct val="100000"/>
              </a:lnSpc>
              <a:spcBef>
                <a:spcPts val="196"/>
              </a:spcBef>
              <a:spcAft>
                <a:spcPts val="294"/>
              </a:spcAft>
              <a:buClrTx/>
              <a:buSzTx/>
              <a:buFontTx/>
              <a:buNone/>
              <a:tabLst/>
              <a:defRPr/>
            </a:pPr>
            <a:endParaRPr kumimoji="0" lang="en-US" sz="1961"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2" name="Content Placeholder 7"/>
          <p:cNvSpPr txBox="1">
            <a:spLocks/>
          </p:cNvSpPr>
          <p:nvPr/>
        </p:nvSpPr>
        <p:spPr bwMode="auto">
          <a:xfrm>
            <a:off x="7569433" y="5959740"/>
            <a:ext cx="2395039" cy="452604"/>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588"/>
              </a:spcBef>
              <a:spcAft>
                <a:spcPts val="588"/>
              </a:spcAft>
              <a:buClrTx/>
              <a:buSzTx/>
              <a:buFont typeface="Arial" panose="020B0604020202020204" pitchFamily="34" charset="0"/>
              <a:buNone/>
              <a:tabLst/>
              <a:defRPr/>
            </a:pPr>
            <a:r>
              <a:rPr kumimoji="0" lang="en-US" sz="2353" b="1" i="0" u="none" strike="noStrike" kern="1200" cap="none" spc="0" normalizeH="0" baseline="0" noProof="0" dirty="0">
                <a:ln>
                  <a:noFill/>
                </a:ln>
                <a:solidFill>
                  <a:srgbClr val="FFFFFF"/>
                </a:solidFill>
                <a:effectLst/>
                <a:uLnTx/>
                <a:uFillTx/>
                <a:latin typeface="Segoe UI"/>
                <a:ea typeface="+mn-ea"/>
                <a:cs typeface="+mn-cs"/>
              </a:rPr>
              <a:t>Hadoop / HDFS</a:t>
            </a:r>
          </a:p>
        </p:txBody>
      </p:sp>
      <p:sp>
        <p:nvSpPr>
          <p:cNvPr id="13" name="Freeform 12"/>
          <p:cNvSpPr>
            <a:spLocks/>
          </p:cNvSpPr>
          <p:nvPr/>
        </p:nvSpPr>
        <p:spPr bwMode="auto">
          <a:xfrm>
            <a:off x="6119691" y="5917093"/>
            <a:ext cx="737849" cy="55967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a:ln>
                <a:noFill/>
              </a:ln>
              <a:solidFill>
                <a:srgbClr val="000000"/>
              </a:solidFill>
              <a:effectLst/>
              <a:uLnTx/>
              <a:uFillTx/>
              <a:latin typeface="Segoe UI"/>
              <a:ea typeface="+mn-ea"/>
              <a:cs typeface="+mn-cs"/>
            </a:endParaRPr>
          </a:p>
        </p:txBody>
      </p:sp>
      <p:grpSp>
        <p:nvGrpSpPr>
          <p:cNvPr id="20" name="Group 19"/>
          <p:cNvGrpSpPr/>
          <p:nvPr/>
        </p:nvGrpSpPr>
        <p:grpSpPr>
          <a:xfrm>
            <a:off x="7931638" y="2065953"/>
            <a:ext cx="1097283" cy="1097280"/>
            <a:chOff x="3376943" y="1961247"/>
            <a:chExt cx="1122629" cy="1080228"/>
          </a:xfrm>
        </p:grpSpPr>
        <p:sp>
          <p:nvSpPr>
            <p:cNvPr id="19" name="Oval 18"/>
            <p:cNvSpPr/>
            <p:nvPr/>
          </p:nvSpPr>
          <p:spPr bwMode="auto">
            <a:xfrm>
              <a:off x="3376943" y="1961247"/>
              <a:ext cx="1122629" cy="1080228"/>
            </a:xfrm>
            <a:prstGeom prst="ellipse">
              <a:avLst/>
            </a:prstGeom>
            <a:solidFill>
              <a:schemeClr val="bg1">
                <a:lumMod val="95000"/>
              </a:schemeClr>
            </a:solidFill>
            <a:ln w="28575" cap="flat" cmpd="sng" algn="ctr">
              <a:noFill/>
              <a:prstDash val="solid"/>
              <a:round/>
              <a:headEnd type="none" w="med" len="med"/>
              <a:tailEnd type="triangle" w="med" len="med"/>
            </a:ln>
            <a:effectLst/>
          </p:spPr>
          <p:txBody>
            <a:bodyPr rot="0" spcFirstLastPara="0" vertOverflow="overflow" horzOverflow="overflow" vert="horz" wrap="square" lIns="89642" tIns="1120531" rIns="89642"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
                  <a:srgbClr val="FF3300"/>
                </a:buClr>
                <a:buSzTx/>
                <a:buFontTx/>
                <a:buNone/>
                <a:tabLst/>
                <a:defRPr/>
              </a:pPr>
              <a:endParaRPr kumimoji="0" lang="en-US" sz="1961"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17"/>
            <p:cNvSpPr/>
            <p:nvPr/>
          </p:nvSpPr>
          <p:spPr bwMode="auto">
            <a:xfrm rot="19320000" flipH="1">
              <a:off x="3740499" y="2133419"/>
              <a:ext cx="395516" cy="393412"/>
            </a:xfrm>
            <a:custGeom>
              <a:avLst/>
              <a:gdLst>
                <a:gd name="connsiteX0" fmla="*/ 146044 w 2118694"/>
                <a:gd name="connsiteY0" fmla="*/ 82208 h 2308582"/>
                <a:gd name="connsiteX1" fmla="*/ 82207 w 2118694"/>
                <a:gd name="connsiteY1" fmla="*/ 620297 h 2308582"/>
                <a:gd name="connsiteX2" fmla="*/ 484514 w 2118694"/>
                <a:gd name="connsiteY2" fmla="*/ 752783 h 2308582"/>
                <a:gd name="connsiteX3" fmla="*/ 545239 w 2118694"/>
                <a:gd name="connsiteY3" fmla="*/ 722081 h 2308582"/>
                <a:gd name="connsiteX4" fmla="*/ 851174 w 2118694"/>
                <a:gd name="connsiteY4" fmla="*/ 1110376 h 2308582"/>
                <a:gd name="connsiteX5" fmla="*/ 851174 w 2118694"/>
                <a:gd name="connsiteY5" fmla="*/ 2003655 h 2308582"/>
                <a:gd name="connsiteX6" fmla="*/ 721515 w 2118694"/>
                <a:gd name="connsiteY6" fmla="*/ 1839091 h 2308582"/>
                <a:gd name="connsiteX7" fmla="*/ 619368 w 2118694"/>
                <a:gd name="connsiteY7" fmla="*/ 1919572 h 2308582"/>
                <a:gd name="connsiteX8" fmla="*/ 904247 w 2118694"/>
                <a:gd name="connsiteY8" fmla="*/ 2287921 h 2308582"/>
                <a:gd name="connsiteX9" fmla="*/ 1273295 w 2118694"/>
                <a:gd name="connsiteY9" fmla="*/ 1997151 h 2308582"/>
                <a:gd name="connsiteX10" fmla="*/ 1193463 w 2118694"/>
                <a:gd name="connsiteY10" fmla="*/ 1895827 h 2308582"/>
                <a:gd name="connsiteX11" fmla="*/ 1016057 w 2118694"/>
                <a:gd name="connsiteY11" fmla="*/ 2034355 h 2308582"/>
                <a:gd name="connsiteX12" fmla="*/ 1016057 w 2118694"/>
                <a:gd name="connsiteY12" fmla="*/ 1319647 h 2308582"/>
                <a:gd name="connsiteX13" fmla="*/ 1670509 w 2118694"/>
                <a:gd name="connsiteY13" fmla="*/ 2150283 h 2308582"/>
                <a:gd name="connsiteX14" fmla="*/ 1450339 w 2118694"/>
                <a:gd name="connsiteY14" fmla="*/ 2125136 h 2308582"/>
                <a:gd name="connsiteX15" fmla="*/ 1435142 w 2118694"/>
                <a:gd name="connsiteY15" fmla="*/ 2253232 h 2308582"/>
                <a:gd name="connsiteX16" fmla="*/ 1901704 w 2118694"/>
                <a:gd name="connsiteY16" fmla="*/ 2308582 h 2308582"/>
                <a:gd name="connsiteX17" fmla="*/ 1952394 w 2118694"/>
                <a:gd name="connsiteY17" fmla="*/ 1845691 h 2308582"/>
                <a:gd name="connsiteX18" fmla="*/ 1823256 w 2118694"/>
                <a:gd name="connsiteY18" fmla="*/ 1830372 h 2308582"/>
                <a:gd name="connsiteX19" fmla="*/ 1797752 w 2118694"/>
                <a:gd name="connsiteY19" fmla="*/ 2045358 h 2308582"/>
                <a:gd name="connsiteX20" fmla="*/ 1140004 w 2118694"/>
                <a:gd name="connsiteY20" fmla="*/ 1210540 h 2308582"/>
                <a:gd name="connsiteX21" fmla="*/ 1846006 w 2118694"/>
                <a:gd name="connsiteY21" fmla="*/ 1380444 h 2308582"/>
                <a:gd name="connsiteX22" fmla="*/ 1669814 w 2118694"/>
                <a:gd name="connsiteY22" fmla="*/ 1520514 h 2308582"/>
                <a:gd name="connsiteX23" fmla="*/ 1749647 w 2118694"/>
                <a:gd name="connsiteY23" fmla="*/ 1621837 h 2308582"/>
                <a:gd name="connsiteX24" fmla="*/ 2118694 w 2118694"/>
                <a:gd name="connsiteY24" fmla="*/ 1331067 h 2308582"/>
                <a:gd name="connsiteX25" fmla="*/ 1827225 w 2118694"/>
                <a:gd name="connsiteY25" fmla="*/ 967910 h 2308582"/>
                <a:gd name="connsiteX26" fmla="*/ 1725078 w 2118694"/>
                <a:gd name="connsiteY26" fmla="*/ 1048391 h 2308582"/>
                <a:gd name="connsiteX27" fmla="*/ 1854737 w 2118694"/>
                <a:gd name="connsiteY27" fmla="*/ 1212955 h 2308582"/>
                <a:gd name="connsiteX28" fmla="*/ 975121 w 2118694"/>
                <a:gd name="connsiteY28" fmla="*/ 1001269 h 2308582"/>
                <a:gd name="connsiteX29" fmla="*/ 674752 w 2118694"/>
                <a:gd name="connsiteY29" fmla="*/ 620039 h 2308582"/>
                <a:gd name="connsiteX30" fmla="*/ 718811 w 2118694"/>
                <a:gd name="connsiteY30" fmla="*/ 568182 h 2308582"/>
                <a:gd name="connsiteX31" fmla="*/ 684133 w 2118694"/>
                <a:gd name="connsiteY31" fmla="*/ 146044 h 2308582"/>
                <a:gd name="connsiteX32" fmla="*/ 146044 w 2118694"/>
                <a:gd name="connsiteY32" fmla="*/ 82208 h 230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18694" h="2308582">
                  <a:moveTo>
                    <a:pt x="146044" y="82208"/>
                  </a:moveTo>
                  <a:cubicBezTo>
                    <a:pt x="-20174" y="213169"/>
                    <a:pt x="-48754" y="454080"/>
                    <a:pt x="82207" y="620297"/>
                  </a:cubicBezTo>
                  <a:cubicBezTo>
                    <a:pt x="180428" y="744960"/>
                    <a:pt x="340496" y="792203"/>
                    <a:pt x="484514" y="752783"/>
                  </a:cubicBezTo>
                  <a:lnTo>
                    <a:pt x="545239" y="722081"/>
                  </a:lnTo>
                  <a:lnTo>
                    <a:pt x="851174" y="1110376"/>
                  </a:lnTo>
                  <a:lnTo>
                    <a:pt x="851174" y="2003655"/>
                  </a:lnTo>
                  <a:lnTo>
                    <a:pt x="721515" y="1839091"/>
                  </a:lnTo>
                  <a:cubicBezTo>
                    <a:pt x="695628" y="1825440"/>
                    <a:pt x="602342" y="1822836"/>
                    <a:pt x="619368" y="1919572"/>
                  </a:cubicBezTo>
                  <a:cubicBezTo>
                    <a:pt x="714327" y="2042355"/>
                    <a:pt x="809287" y="2165137"/>
                    <a:pt x="904247" y="2287921"/>
                  </a:cubicBezTo>
                  <a:lnTo>
                    <a:pt x="1273295" y="1997151"/>
                  </a:lnTo>
                  <a:cubicBezTo>
                    <a:pt x="1299629" y="1913650"/>
                    <a:pt x="1243962" y="1888750"/>
                    <a:pt x="1193463" y="1895827"/>
                  </a:cubicBezTo>
                  <a:lnTo>
                    <a:pt x="1016057" y="2034355"/>
                  </a:lnTo>
                  <a:lnTo>
                    <a:pt x="1016057" y="1319647"/>
                  </a:lnTo>
                  <a:lnTo>
                    <a:pt x="1670509" y="2150283"/>
                  </a:lnTo>
                  <a:lnTo>
                    <a:pt x="1450339" y="2125136"/>
                  </a:lnTo>
                  <a:cubicBezTo>
                    <a:pt x="1403571" y="2145461"/>
                    <a:pt x="1369090" y="2195759"/>
                    <a:pt x="1435142" y="2253232"/>
                  </a:cubicBezTo>
                  <a:lnTo>
                    <a:pt x="1901704" y="2308582"/>
                  </a:lnTo>
                  <a:cubicBezTo>
                    <a:pt x="1918600" y="2154285"/>
                    <a:pt x="1935498" y="1999988"/>
                    <a:pt x="1952394" y="1845691"/>
                  </a:cubicBezTo>
                  <a:cubicBezTo>
                    <a:pt x="1916417" y="1754295"/>
                    <a:pt x="1838210" y="1805215"/>
                    <a:pt x="1823256" y="1830372"/>
                  </a:cubicBezTo>
                  <a:lnTo>
                    <a:pt x="1797752" y="2045358"/>
                  </a:lnTo>
                  <a:lnTo>
                    <a:pt x="1140004" y="1210540"/>
                  </a:lnTo>
                  <a:lnTo>
                    <a:pt x="1846006" y="1380444"/>
                  </a:lnTo>
                  <a:lnTo>
                    <a:pt x="1669814" y="1520514"/>
                  </a:lnTo>
                  <a:cubicBezTo>
                    <a:pt x="1651118" y="1567955"/>
                    <a:pt x="1662302" y="1627903"/>
                    <a:pt x="1749647" y="1621837"/>
                  </a:cubicBezTo>
                  <a:lnTo>
                    <a:pt x="2118694" y="1331067"/>
                  </a:lnTo>
                  <a:cubicBezTo>
                    <a:pt x="2021537" y="1210014"/>
                    <a:pt x="1924381" y="1088961"/>
                    <a:pt x="1827225" y="967910"/>
                  </a:cubicBezTo>
                  <a:cubicBezTo>
                    <a:pt x="1737158" y="928723"/>
                    <a:pt x="1717863" y="1020028"/>
                    <a:pt x="1725078" y="1048391"/>
                  </a:cubicBezTo>
                  <a:lnTo>
                    <a:pt x="1854737" y="1212955"/>
                  </a:lnTo>
                  <a:lnTo>
                    <a:pt x="975121" y="1001269"/>
                  </a:lnTo>
                  <a:lnTo>
                    <a:pt x="674752" y="620039"/>
                  </a:lnTo>
                  <a:lnTo>
                    <a:pt x="718811" y="568182"/>
                  </a:lnTo>
                  <a:cubicBezTo>
                    <a:pt x="790833" y="437385"/>
                    <a:pt x="782354" y="270707"/>
                    <a:pt x="684133" y="146044"/>
                  </a:cubicBezTo>
                  <a:cubicBezTo>
                    <a:pt x="553172" y="-20174"/>
                    <a:pt x="312261" y="-48754"/>
                    <a:pt x="146044" y="82208"/>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7931639" y="4001124"/>
            <a:ext cx="1097280" cy="1097280"/>
            <a:chOff x="8972550" y="3000685"/>
            <a:chExt cx="1028390" cy="1028390"/>
          </a:xfrm>
        </p:grpSpPr>
        <p:sp>
          <p:nvSpPr>
            <p:cNvPr id="26" name="Oval 25"/>
            <p:cNvSpPr/>
            <p:nvPr/>
          </p:nvSpPr>
          <p:spPr bwMode="auto">
            <a:xfrm>
              <a:off x="8972550" y="3000685"/>
              <a:ext cx="1028390" cy="102839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7" name="Group 26"/>
            <p:cNvGrpSpPr/>
            <p:nvPr/>
          </p:nvGrpSpPr>
          <p:grpSpPr>
            <a:xfrm>
              <a:off x="9107348" y="3101731"/>
              <a:ext cx="758794" cy="838569"/>
              <a:chOff x="1812596" y="2407618"/>
              <a:chExt cx="406399" cy="449125"/>
            </a:xfrm>
            <a:solidFill>
              <a:schemeClr val="bg1"/>
            </a:solidFill>
          </p:grpSpPr>
          <p:sp>
            <p:nvSpPr>
              <p:cNvPr id="28" name="Freeform 27"/>
              <p:cNvSpPr>
                <a:spLocks/>
              </p:cNvSpPr>
              <p:nvPr/>
            </p:nvSpPr>
            <p:spPr bwMode="auto">
              <a:xfrm>
                <a:off x="1812596" y="2697993"/>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mn-cs"/>
                </a:endParaRPr>
              </a:p>
            </p:txBody>
          </p:sp>
          <p:sp>
            <p:nvSpPr>
              <p:cNvPr id="29" name="Freeform 28"/>
              <p:cNvSpPr>
                <a:spLocks/>
              </p:cNvSpPr>
              <p:nvPr/>
            </p:nvSpPr>
            <p:spPr bwMode="auto">
              <a:xfrm>
                <a:off x="1817358" y="2407618"/>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mn-cs"/>
                </a:endParaRPr>
              </a:p>
            </p:txBody>
          </p:sp>
        </p:grpSp>
      </p:grpSp>
      <p:grpSp>
        <p:nvGrpSpPr>
          <p:cNvPr id="30" name="Group 29"/>
          <p:cNvGrpSpPr/>
          <p:nvPr/>
        </p:nvGrpSpPr>
        <p:grpSpPr>
          <a:xfrm>
            <a:off x="6772030" y="561588"/>
            <a:ext cx="3416487" cy="995387"/>
            <a:chOff x="7202479" y="2294192"/>
            <a:chExt cx="3590901" cy="1015347"/>
          </a:xfrm>
        </p:grpSpPr>
        <p:sp>
          <p:nvSpPr>
            <p:cNvPr id="31" name="Rectangle 30"/>
            <p:cNvSpPr/>
            <p:nvPr/>
          </p:nvSpPr>
          <p:spPr bwMode="auto">
            <a:xfrm>
              <a:off x="7923646" y="2294192"/>
              <a:ext cx="697219" cy="676656"/>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marL="0" marR="0" lvl="0" indent="0" algn="ctr" defTabSz="59082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JDBC</a:t>
              </a:r>
            </a:p>
          </p:txBody>
        </p:sp>
        <p:sp>
          <p:nvSpPr>
            <p:cNvPr id="32" name="Rectangle 31"/>
            <p:cNvSpPr/>
            <p:nvPr/>
          </p:nvSpPr>
          <p:spPr bwMode="auto">
            <a:xfrm>
              <a:off x="7202479" y="2294192"/>
              <a:ext cx="697219" cy="676656"/>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marL="0" marR="0" lvl="0" indent="0" algn="ctr" defTabSz="59082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DBC</a:t>
              </a:r>
            </a:p>
          </p:txBody>
        </p:sp>
        <p:sp>
          <p:nvSpPr>
            <p:cNvPr id="33" name="Rectangle 32"/>
            <p:cNvSpPr/>
            <p:nvPr/>
          </p:nvSpPr>
          <p:spPr bwMode="auto">
            <a:xfrm>
              <a:off x="8645747" y="2294192"/>
              <a:ext cx="1060704" cy="1015347"/>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marL="0" marR="0" lvl="0" indent="0" algn="ctr" defTabSz="59082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ive web interface (HWI)</a:t>
              </a:r>
            </a:p>
          </p:txBody>
        </p:sp>
        <p:sp>
          <p:nvSpPr>
            <p:cNvPr id="35" name="Rectangle 34"/>
            <p:cNvSpPr/>
            <p:nvPr/>
          </p:nvSpPr>
          <p:spPr bwMode="auto">
            <a:xfrm>
              <a:off x="7202479" y="2997624"/>
              <a:ext cx="1417043" cy="311915"/>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marL="0" marR="0" lvl="0" indent="0" algn="ctr" defTabSz="59082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Thrift server</a:t>
              </a:r>
            </a:p>
          </p:txBody>
        </p:sp>
        <p:sp>
          <p:nvSpPr>
            <p:cNvPr id="36" name="Rectangle 35"/>
            <p:cNvSpPr/>
            <p:nvPr/>
          </p:nvSpPr>
          <p:spPr bwMode="auto">
            <a:xfrm>
              <a:off x="9732676" y="2294192"/>
              <a:ext cx="1060704" cy="1015347"/>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b" anchorCtr="0" forceAA="0" compatLnSpc="1">
              <a:prstTxWarp prst="textNoShape">
                <a:avLst/>
              </a:prstTxWarp>
              <a:noAutofit/>
            </a:bodyPr>
            <a:lstStyle/>
            <a:p>
              <a:pPr marL="0" marR="0" lvl="0" indent="0" algn="ctr" defTabSz="59082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ommand line interface (CLI)</a:t>
              </a:r>
            </a:p>
          </p:txBody>
        </p:sp>
      </p:grpSp>
      <p:grpSp>
        <p:nvGrpSpPr>
          <p:cNvPr id="6" name="Group 5"/>
          <p:cNvGrpSpPr/>
          <p:nvPr/>
        </p:nvGrpSpPr>
        <p:grpSpPr>
          <a:xfrm>
            <a:off x="6161623" y="3045823"/>
            <a:ext cx="1306287" cy="1097280"/>
            <a:chOff x="6161623" y="3223697"/>
            <a:chExt cx="1306287" cy="1097280"/>
          </a:xfrm>
        </p:grpSpPr>
        <p:sp>
          <p:nvSpPr>
            <p:cNvPr id="22" name="Oval 21"/>
            <p:cNvSpPr/>
            <p:nvPr/>
          </p:nvSpPr>
          <p:spPr bwMode="auto">
            <a:xfrm>
              <a:off x="6266126" y="3223697"/>
              <a:ext cx="1097280" cy="1097280"/>
            </a:xfrm>
            <a:prstGeom prst="ellipse">
              <a:avLst/>
            </a:prstGeom>
            <a:solidFill>
              <a:schemeClr val="accent4"/>
            </a:solidFill>
            <a:ln w="9525" cap="flat" cmpd="sng" algn="ctr">
              <a:noFill/>
              <a:prstDash val="solid"/>
              <a:round/>
              <a:headEnd type="none" w="med" len="med"/>
              <a:tailEnd type="triangl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
                  <a:srgbClr val="FF3300"/>
                </a:buClr>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9" name="TextBox 38"/>
            <p:cNvSpPr txBox="1"/>
            <p:nvPr/>
          </p:nvSpPr>
          <p:spPr>
            <a:xfrm>
              <a:off x="6161623" y="3531684"/>
              <a:ext cx="1306287" cy="481307"/>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Compiler</a:t>
              </a:r>
            </a:p>
          </p:txBody>
        </p:sp>
      </p:grpSp>
      <p:grpSp>
        <p:nvGrpSpPr>
          <p:cNvPr id="5" name="Group 4"/>
          <p:cNvGrpSpPr/>
          <p:nvPr/>
        </p:nvGrpSpPr>
        <p:grpSpPr>
          <a:xfrm>
            <a:off x="9514420" y="3045823"/>
            <a:ext cx="1306287" cy="1097280"/>
            <a:chOff x="9514420" y="3223697"/>
            <a:chExt cx="1306287" cy="1097280"/>
          </a:xfrm>
        </p:grpSpPr>
        <p:sp>
          <p:nvSpPr>
            <p:cNvPr id="21" name="Oval 20"/>
            <p:cNvSpPr/>
            <p:nvPr/>
          </p:nvSpPr>
          <p:spPr bwMode="auto">
            <a:xfrm>
              <a:off x="9618923" y="3223697"/>
              <a:ext cx="1097280" cy="109728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0" name="TextBox 39"/>
            <p:cNvSpPr txBox="1"/>
            <p:nvPr/>
          </p:nvSpPr>
          <p:spPr>
            <a:xfrm>
              <a:off x="9514420" y="3531684"/>
              <a:ext cx="1306287" cy="481307"/>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a:ea typeface="+mn-ea"/>
                  <a:cs typeface="+mn-cs"/>
                </a:rPr>
                <a:t>MetaStore</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1" name="TextBox 40"/>
          <p:cNvSpPr txBox="1"/>
          <p:nvPr/>
        </p:nvSpPr>
        <p:spPr>
          <a:xfrm>
            <a:off x="7820804" y="2681926"/>
            <a:ext cx="1306287" cy="481307"/>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2D2D2">
                    <a:lumMod val="50000"/>
                  </a:srgbClr>
                </a:solidFill>
                <a:effectLst/>
                <a:uLnTx/>
                <a:uFillTx/>
                <a:latin typeface="Segoe UI"/>
                <a:ea typeface="+mn-ea"/>
                <a:cs typeface="+mn-cs"/>
              </a:rPr>
              <a:t>Driver</a:t>
            </a:r>
          </a:p>
        </p:txBody>
      </p:sp>
      <p:sp>
        <p:nvSpPr>
          <p:cNvPr id="42" name="TextBox 41"/>
          <p:cNvSpPr txBox="1"/>
          <p:nvPr/>
        </p:nvSpPr>
        <p:spPr>
          <a:xfrm>
            <a:off x="7805371" y="4315021"/>
            <a:ext cx="1306287" cy="481307"/>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Execution</a:t>
            </a:r>
          </a:p>
        </p:txBody>
      </p:sp>
      <p:cxnSp>
        <p:nvCxnSpPr>
          <p:cNvPr id="44" name="Straight Arrow Connector 43"/>
          <p:cNvCxnSpPr>
            <a:endCxn id="22" idx="7"/>
          </p:cNvCxnSpPr>
          <p:nvPr/>
        </p:nvCxnSpPr>
        <p:spPr>
          <a:xfrm flipH="1">
            <a:off x="7202713" y="2789390"/>
            <a:ext cx="740448" cy="417126"/>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9054859" y="4012945"/>
            <a:ext cx="646801" cy="387024"/>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480279" y="3171445"/>
            <a:ext cx="2592" cy="777427"/>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19" idx="0"/>
          </p:cNvCxnSpPr>
          <p:nvPr/>
        </p:nvCxnSpPr>
        <p:spPr>
          <a:xfrm flipH="1">
            <a:off x="8480280" y="1565187"/>
            <a:ext cx="1295" cy="500766"/>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38" idx="2"/>
            <a:endCxn id="4" idx="0"/>
          </p:cNvCxnSpPr>
          <p:nvPr/>
        </p:nvCxnSpPr>
        <p:spPr>
          <a:xfrm>
            <a:off x="8480274" y="5225146"/>
            <a:ext cx="0" cy="594359"/>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39" idx="3"/>
            <a:endCxn id="40" idx="1"/>
          </p:cNvCxnSpPr>
          <p:nvPr/>
        </p:nvCxnSpPr>
        <p:spPr>
          <a:xfrm>
            <a:off x="7467910" y="3594464"/>
            <a:ext cx="2046510" cy="0"/>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551707" y="1703111"/>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43" name="TextBox 42"/>
          <p:cNvSpPr txBox="1"/>
          <p:nvPr/>
        </p:nvSpPr>
        <p:spPr>
          <a:xfrm>
            <a:off x="7357808" y="2758743"/>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45" name="TextBox 44"/>
          <p:cNvSpPr txBox="1"/>
          <p:nvPr/>
        </p:nvSpPr>
        <p:spPr>
          <a:xfrm>
            <a:off x="8551707" y="5419328"/>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46" name="TextBox 45"/>
          <p:cNvSpPr txBox="1"/>
          <p:nvPr/>
        </p:nvSpPr>
        <p:spPr>
          <a:xfrm>
            <a:off x="7573767" y="3684807"/>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48" name="TextBox 47"/>
          <p:cNvSpPr txBox="1"/>
          <p:nvPr/>
        </p:nvSpPr>
        <p:spPr>
          <a:xfrm>
            <a:off x="9342783" y="4256366"/>
            <a:ext cx="265520" cy="283838"/>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5.1</a:t>
            </a:r>
          </a:p>
        </p:txBody>
      </p:sp>
      <p:sp>
        <p:nvSpPr>
          <p:cNvPr id="10" name="TextBox 9"/>
          <p:cNvSpPr txBox="1"/>
          <p:nvPr/>
        </p:nvSpPr>
        <p:spPr>
          <a:xfrm>
            <a:off x="0" y="932284"/>
            <a:ext cx="5676893" cy="5480059"/>
          </a:xfrm>
          <a:prstGeom prst="rect">
            <a:avLst/>
          </a:prstGeom>
          <a:noFill/>
        </p:spPr>
        <p:txBody>
          <a:bodyPr wrap="square" lIns="182880" tIns="146304" rIns="182880" bIns="146304" rtlCol="0">
            <a:noAutofit/>
          </a:bodyPr>
          <a:lstStyle/>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Hive clients send </a:t>
            </a:r>
            <a:r>
              <a:rPr kumimoji="0" lang="en-US" sz="2000" b="0" i="0" u="none" strike="noStrike" kern="1200" cap="none" spc="0" normalizeH="0" baseline="0" noProof="0" dirty="0" err="1">
                <a:ln>
                  <a:noFill/>
                </a:ln>
                <a:solidFill>
                  <a:srgbClr val="000000">
                    <a:lumMod val="65000"/>
                    <a:lumOff val="35000"/>
                  </a:srgbClr>
                </a:solidFill>
                <a:effectLst/>
                <a:uLnTx/>
                <a:uFillTx/>
                <a:latin typeface="Segoe UI"/>
                <a:ea typeface="+mn-ea"/>
                <a:cs typeface="Segoe UI Semilight" panose="020B0402040204020203" pitchFamily="34" charset="0"/>
              </a:rPr>
              <a:t>HiveQL</a:t>
            </a: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 queries to the driver</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driver sends query to the compiler for parsing and syntax checking.</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compiler gets the metadata from the store and returns a execution plan to the driver.</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driver sends the execution plan to the execution engine.</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execution engine submits the plan as a MR job to be executed by Hadoop. After Hadoop completes execution, the execution engine gets the results which are returned to the driver, which in turn returns the results to the Hive clients. </a:t>
            </a:r>
          </a:p>
          <a:p>
            <a:pPr marL="914400" marR="0" lvl="2"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rPr>
              <a:t>The execution engine can execute metadata operations against the </a:t>
            </a:r>
            <a:r>
              <a:rPr kumimoji="0" lang="en-US" sz="2000" b="0" i="0" u="none" strike="noStrike" kern="1200" cap="none" spc="0" normalizeH="0" baseline="0" noProof="0" dirty="0" err="1">
                <a:ln>
                  <a:noFill/>
                </a:ln>
                <a:solidFill>
                  <a:srgbClr val="000000">
                    <a:lumMod val="65000"/>
                    <a:lumOff val="35000"/>
                  </a:srgbClr>
                </a:solidFill>
                <a:effectLst/>
                <a:uLnTx/>
                <a:uFillTx/>
                <a:latin typeface="Segoe UI"/>
                <a:ea typeface="+mn-ea"/>
                <a:cs typeface="Segoe UI Semilight" panose="020B0402040204020203" pitchFamily="34" charset="0"/>
              </a:rPr>
              <a:t>Metastore</a:t>
            </a:r>
            <a:endPar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Segoe UI Semilight" panose="020B0402040204020203" pitchFamily="34" charset="0"/>
            </a:endParaRPr>
          </a:p>
        </p:txBody>
      </p:sp>
      <p:sp>
        <p:nvSpPr>
          <p:cNvPr id="49" name="TextBox 48"/>
          <p:cNvSpPr txBox="1"/>
          <p:nvPr/>
        </p:nvSpPr>
        <p:spPr>
          <a:xfrm>
            <a:off x="8197480" y="3298079"/>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51" name="TextBox 50"/>
          <p:cNvSpPr txBox="1"/>
          <p:nvPr/>
        </p:nvSpPr>
        <p:spPr>
          <a:xfrm>
            <a:off x="201197" y="1139893"/>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52" name="TextBox 51"/>
          <p:cNvSpPr txBox="1"/>
          <p:nvPr/>
        </p:nvSpPr>
        <p:spPr>
          <a:xfrm>
            <a:off x="201197" y="1768145"/>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53" name="TextBox 52"/>
          <p:cNvSpPr txBox="1"/>
          <p:nvPr/>
        </p:nvSpPr>
        <p:spPr>
          <a:xfrm>
            <a:off x="201197" y="3892016"/>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54" name="TextBox 53"/>
          <p:cNvSpPr txBox="1"/>
          <p:nvPr/>
        </p:nvSpPr>
        <p:spPr>
          <a:xfrm>
            <a:off x="201197" y="2376151"/>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55" name="TextBox 54"/>
          <p:cNvSpPr txBox="1"/>
          <p:nvPr/>
        </p:nvSpPr>
        <p:spPr>
          <a:xfrm>
            <a:off x="725557" y="5611396"/>
            <a:ext cx="298668" cy="274320"/>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5.1</a:t>
            </a:r>
          </a:p>
        </p:txBody>
      </p:sp>
      <p:sp>
        <p:nvSpPr>
          <p:cNvPr id="56" name="TextBox 55"/>
          <p:cNvSpPr txBox="1"/>
          <p:nvPr/>
        </p:nvSpPr>
        <p:spPr>
          <a:xfrm>
            <a:off x="201197" y="3281509"/>
            <a:ext cx="200722" cy="193766"/>
          </a:xfrm>
          <a:prstGeom prst="rect">
            <a:avLst/>
          </a:prstGeom>
          <a:solidFill>
            <a:schemeClr val="accent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4</a:t>
            </a:r>
          </a:p>
        </p:txBody>
      </p:sp>
    </p:spTree>
    <p:extLst>
      <p:ext uri="{BB962C8B-B14F-4D97-AF65-F5344CB8AC3E}">
        <p14:creationId xmlns:p14="http://schemas.microsoft.com/office/powerpoint/2010/main" val="2093396497"/>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ive Summary</a:t>
            </a:r>
          </a:p>
        </p:txBody>
      </p:sp>
      <p:sp>
        <p:nvSpPr>
          <p:cNvPr id="3" name="Content Placeholder 2"/>
          <p:cNvSpPr>
            <a:spLocks noGrp="1"/>
          </p:cNvSpPr>
          <p:nvPr>
            <p:ph sz="quarter" idx="10"/>
          </p:nvPr>
        </p:nvSpPr>
        <p:spPr>
          <a:xfrm>
            <a:off x="379413" y="1388226"/>
            <a:ext cx="9027052" cy="5290388"/>
          </a:xfrm>
        </p:spPr>
        <p:txBody>
          <a:bodyPr/>
          <a:lstStyle/>
          <a:p>
            <a:r>
              <a:rPr lang="en-GB" dirty="0"/>
              <a:t>Hive enables Map/Reduce processing through SQL-like syntax</a:t>
            </a:r>
          </a:p>
          <a:p>
            <a:r>
              <a:rPr lang="en-GB" dirty="0"/>
              <a:t>Internal tables manage the lifetime of their data, External tables are metadata only</a:t>
            </a:r>
          </a:p>
          <a:p>
            <a:r>
              <a:rPr lang="en-GB" dirty="0"/>
              <a:t>Use </a:t>
            </a:r>
            <a:r>
              <a:rPr lang="en-GB" dirty="0" err="1"/>
              <a:t>HiveQL</a:t>
            </a:r>
            <a:r>
              <a:rPr lang="en-GB" dirty="0"/>
              <a:t> queries in PowerShell scripts to perform Hive operations and retrieve data</a:t>
            </a:r>
          </a:p>
        </p:txBody>
      </p:sp>
    </p:spTree>
    <p:extLst>
      <p:ext uri="{BB962C8B-B14F-4D97-AF65-F5344CB8AC3E}">
        <p14:creationId xmlns:p14="http://schemas.microsoft.com/office/powerpoint/2010/main" val="16205512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Pig?</a:t>
            </a:r>
          </a:p>
          <a:p>
            <a:r>
              <a:rPr lang="en-GB" dirty="0"/>
              <a:t>Pig Latin</a:t>
            </a:r>
          </a:p>
          <a:p>
            <a:r>
              <a:rPr lang="en-GB" dirty="0"/>
              <a:t>Common Pig Latin Operations</a:t>
            </a:r>
          </a:p>
          <a:p>
            <a:r>
              <a:rPr lang="en-GB" dirty="0"/>
              <a:t>Pig Latin and Map/Reduce</a:t>
            </a:r>
          </a:p>
          <a:p>
            <a:r>
              <a:rPr lang="en-GB" dirty="0"/>
              <a:t>Using Pig in PowerShell</a:t>
            </a:r>
          </a:p>
        </p:txBody>
      </p:sp>
      <p:sp>
        <p:nvSpPr>
          <p:cNvPr id="2" name="Title 1"/>
          <p:cNvSpPr>
            <a:spLocks noGrp="1"/>
          </p:cNvSpPr>
          <p:nvPr>
            <p:ph type="title"/>
          </p:nvPr>
        </p:nvSpPr>
        <p:spPr/>
        <p:txBody>
          <a:bodyPr/>
          <a:lstStyle/>
          <a:p>
            <a:r>
              <a:rPr lang="en-US" dirty="0"/>
              <a:t>Pig Overview</a:t>
            </a:r>
          </a:p>
        </p:txBody>
      </p:sp>
    </p:spTree>
    <p:extLst>
      <p:ext uri="{BB962C8B-B14F-4D97-AF65-F5344CB8AC3E}">
        <p14:creationId xmlns:p14="http://schemas.microsoft.com/office/powerpoint/2010/main" val="24738713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Pig?</a:t>
            </a:r>
            <a:endParaRPr lang="en-US" dirty="0"/>
          </a:p>
        </p:txBody>
      </p:sp>
      <p:sp>
        <p:nvSpPr>
          <p:cNvPr id="3" name="Content Placeholder 2"/>
          <p:cNvSpPr>
            <a:spLocks noGrp="1"/>
          </p:cNvSpPr>
          <p:nvPr>
            <p:ph sz="quarter" idx="10"/>
          </p:nvPr>
        </p:nvSpPr>
        <p:spPr>
          <a:xfrm>
            <a:off x="265113" y="3172187"/>
            <a:ext cx="11525250" cy="3254989"/>
          </a:xfrm>
        </p:spPr>
        <p:txBody>
          <a:bodyPr/>
          <a:lstStyle/>
          <a:p>
            <a:r>
              <a:rPr lang="en-US" sz="2400" dirty="0"/>
              <a:t>Pig is a high level scripting language used with Hadoop</a:t>
            </a:r>
          </a:p>
          <a:p>
            <a:r>
              <a:rPr lang="en-US" sz="2400" dirty="0"/>
              <a:t>Pig can be used to invoke code in many languages including </a:t>
            </a:r>
            <a:r>
              <a:rPr lang="en-US" sz="2400" dirty="0" err="1"/>
              <a:t>Jruby</a:t>
            </a:r>
            <a:r>
              <a:rPr lang="en-US" sz="2400" dirty="0"/>
              <a:t>, </a:t>
            </a:r>
            <a:r>
              <a:rPr lang="en-US" sz="2400" dirty="0" err="1"/>
              <a:t>Jython</a:t>
            </a:r>
            <a:r>
              <a:rPr lang="en-US" sz="2400" dirty="0"/>
              <a:t>, Java</a:t>
            </a:r>
          </a:p>
          <a:p>
            <a:r>
              <a:rPr lang="en-US" sz="2400" dirty="0"/>
              <a:t>Pig Latin statements perform a series of transformations to data </a:t>
            </a:r>
            <a:r>
              <a:rPr lang="en-US" sz="2400" i="1" dirty="0"/>
              <a:t>relations</a:t>
            </a:r>
          </a:p>
          <a:p>
            <a:r>
              <a:rPr lang="en-US" sz="2400" dirty="0"/>
              <a:t>Relations are loaded using </a:t>
            </a:r>
            <a:r>
              <a:rPr lang="en-US" sz="2400" i="1" dirty="0"/>
              <a:t>schema on read </a:t>
            </a:r>
            <a:r>
              <a:rPr lang="en-US" sz="2400" dirty="0"/>
              <a:t>semantics to project table structure at runtime</a:t>
            </a:r>
          </a:p>
          <a:p>
            <a:r>
              <a:rPr lang="en-US" sz="2400" dirty="0"/>
              <a:t>Run Pig Latin statements interactively in the Grunt shell, or save a script file and run them as a batch</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654" y="1559767"/>
            <a:ext cx="776796" cy="129835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8545" y="1559766"/>
            <a:ext cx="776796" cy="1298359"/>
          </a:xfrm>
          <a:prstGeom prst="rect">
            <a:avLst/>
          </a:prstGeom>
        </p:spPr>
      </p:pic>
      <p:graphicFrame>
        <p:nvGraphicFramePr>
          <p:cNvPr id="7" name="Table 6"/>
          <p:cNvGraphicFramePr>
            <a:graphicFrameLocks noGrp="1"/>
          </p:cNvGraphicFramePr>
          <p:nvPr>
            <p:extLst/>
          </p:nvPr>
        </p:nvGraphicFramePr>
        <p:xfrm>
          <a:off x="2718360"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graphicFrame>
        <p:nvGraphicFramePr>
          <p:cNvPr id="8" name="Table 7"/>
          <p:cNvGraphicFramePr>
            <a:graphicFrameLocks noGrp="1"/>
          </p:cNvGraphicFramePr>
          <p:nvPr>
            <p:extLst/>
          </p:nvPr>
        </p:nvGraphicFramePr>
        <p:xfrm>
          <a:off x="5302861"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Right Arrow 8"/>
          <p:cNvSpPr/>
          <p:nvPr/>
        </p:nvSpPr>
        <p:spPr>
          <a:xfrm>
            <a:off x="1934307"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Right Arrow 9"/>
          <p:cNvSpPr/>
          <p:nvPr/>
        </p:nvSpPr>
        <p:spPr>
          <a:xfrm>
            <a:off x="4405994"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ight Arrow 10"/>
          <p:cNvSpPr/>
          <p:nvPr/>
        </p:nvSpPr>
        <p:spPr>
          <a:xfrm>
            <a:off x="6877681"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34687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78A2D-56FC-45E6-8B21-BD9257C16920}"/>
              </a:ext>
            </a:extLst>
          </p:cNvPr>
          <p:cNvSpPr>
            <a:spLocks noGrp="1"/>
          </p:cNvSpPr>
          <p:nvPr>
            <p:ph type="title"/>
          </p:nvPr>
        </p:nvSpPr>
        <p:spPr/>
        <p:txBody>
          <a:bodyPr/>
          <a:lstStyle/>
          <a:p>
            <a:r>
              <a:rPr lang="en-US" dirty="0"/>
              <a:t>Hadoop – What is it?</a:t>
            </a:r>
          </a:p>
        </p:txBody>
      </p:sp>
      <p:sp>
        <p:nvSpPr>
          <p:cNvPr id="3" name="Content Placeholder 2">
            <a:extLst>
              <a:ext uri="{FF2B5EF4-FFF2-40B4-BE49-F238E27FC236}">
                <a16:creationId xmlns:a16="http://schemas.microsoft.com/office/drawing/2014/main" id="{F7A8EAAC-8658-423F-BAA6-5E079ADC5C94}"/>
              </a:ext>
            </a:extLst>
          </p:cNvPr>
          <p:cNvSpPr>
            <a:spLocks noGrp="1"/>
          </p:cNvSpPr>
          <p:nvPr>
            <p:ph sz="quarter" idx="10"/>
          </p:nvPr>
        </p:nvSpPr>
        <p:spPr/>
        <p:txBody>
          <a:bodyPr/>
          <a:lstStyle/>
          <a:p>
            <a:r>
              <a:rPr lang="en-US" dirty="0"/>
              <a:t>A highly reliable, distributed and parallel programming framework for analyzing big data</a:t>
            </a:r>
          </a:p>
          <a:p>
            <a:r>
              <a:rPr lang="en-US" dirty="0"/>
              <a:t>Java-based, open source, Apache project</a:t>
            </a:r>
          </a:p>
          <a:p>
            <a:r>
              <a:rPr lang="en-US" dirty="0"/>
              <a:t>The Hadoop core consists of:</a:t>
            </a:r>
          </a:p>
          <a:p>
            <a:pPr lvl="1"/>
            <a:r>
              <a:rPr lang="en-US" dirty="0"/>
              <a:t>A scalable, reliable file system (HDFS)</a:t>
            </a:r>
          </a:p>
          <a:p>
            <a:pPr lvl="1"/>
            <a:r>
              <a:rPr lang="en-US" dirty="0"/>
              <a:t>A framework that enables development of programs based on MapReduce (MR) or Directed Acyclic Graph (DAG) model</a:t>
            </a:r>
          </a:p>
          <a:p>
            <a:pPr lvl="1"/>
            <a:r>
              <a:rPr lang="en-US" dirty="0"/>
              <a:t>YARN, a distributed resource manager that allocates and controls access to the resource of the cluster manager</a:t>
            </a:r>
          </a:p>
          <a:p>
            <a:endParaRPr lang="en-US" dirty="0"/>
          </a:p>
        </p:txBody>
      </p:sp>
    </p:spTree>
    <p:extLst>
      <p:ext uri="{BB962C8B-B14F-4D97-AF65-F5344CB8AC3E}">
        <p14:creationId xmlns:p14="http://schemas.microsoft.com/office/powerpoint/2010/main" val="7860780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Where it fits</a:t>
            </a:r>
          </a:p>
        </p:txBody>
      </p:sp>
      <p:sp>
        <p:nvSpPr>
          <p:cNvPr id="9" name="Content Placeholder 8"/>
          <p:cNvSpPr>
            <a:spLocks noGrp="1"/>
          </p:cNvSpPr>
          <p:nvPr>
            <p:ph sz="quarter" idx="10"/>
          </p:nvPr>
        </p:nvSpPr>
        <p:spPr/>
        <p:txBody>
          <a:bodyPr/>
          <a:lstStyle/>
          <a:p>
            <a:pPr marL="0" indent="0">
              <a:buNone/>
            </a:pPr>
            <a:r>
              <a:rPr lang="en-US" b="0" dirty="0">
                <a:latin typeface="Segoe UI Light"/>
              </a:rPr>
              <a:t>Pig is designed to perform long series of data operations like:</a:t>
            </a:r>
          </a:p>
          <a:p>
            <a:pPr marL="336145" lvl="0" indent="-336145" defTabSz="914367">
              <a:spcBef>
                <a:spcPts val="1176"/>
              </a:spcBef>
              <a:defRPr/>
            </a:pPr>
            <a:r>
              <a:rPr lang="en-US" sz="2800" b="0" dirty="0">
                <a:solidFill>
                  <a:srgbClr val="505050"/>
                </a:solidFill>
              </a:rPr>
              <a:t>Extract-transform-load (ETL) data pipelines</a:t>
            </a:r>
          </a:p>
          <a:p>
            <a:pPr marL="336145" indent="-336145" defTabSz="914367">
              <a:spcBef>
                <a:spcPts val="1176"/>
              </a:spcBef>
              <a:defRPr/>
            </a:pPr>
            <a:r>
              <a:rPr lang="en-US" sz="2800" b="0" dirty="0">
                <a:solidFill>
                  <a:srgbClr val="505050"/>
                </a:solidFill>
              </a:rPr>
              <a:t>Research on raw data</a:t>
            </a:r>
          </a:p>
          <a:p>
            <a:pPr marL="336145" indent="-336145" defTabSz="914367">
              <a:spcBef>
                <a:spcPts val="1176"/>
              </a:spcBef>
              <a:defRPr/>
            </a:pPr>
            <a:r>
              <a:rPr lang="en-US" sz="2800" b="0" dirty="0">
                <a:solidFill>
                  <a:srgbClr val="505050"/>
                </a:solidFill>
              </a:rPr>
              <a:t>Iterative data processing</a:t>
            </a:r>
          </a:p>
          <a:p>
            <a:pPr lvl="1"/>
            <a:endParaRPr lang="en-US" dirty="0"/>
          </a:p>
        </p:txBody>
      </p:sp>
      <p:sp>
        <p:nvSpPr>
          <p:cNvPr id="7" name="Slide Number Placeholder 6"/>
          <p:cNvSpPr>
            <a:spLocks noGrp="1"/>
          </p:cNvSpPr>
          <p:nvPr>
            <p:ph type="sldNum" sz="quarter" idx="4294967295"/>
          </p:nvPr>
        </p:nvSpPr>
        <p:spPr>
          <a:xfrm>
            <a:off x="11636375" y="6437313"/>
            <a:ext cx="555625" cy="13493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A0AC42-AA1D-4944-8D96-660DE70C7E1B}" type="slidenum">
              <a:rPr kumimoji="0" lang="en-IN"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IN"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8459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Latin</a:t>
            </a:r>
            <a:endParaRPr lang="en-US" dirty="0"/>
          </a:p>
        </p:txBody>
      </p:sp>
      <p:sp>
        <p:nvSpPr>
          <p:cNvPr id="4" name="Rectangle 3"/>
          <p:cNvSpPr/>
          <p:nvPr/>
        </p:nvSpPr>
        <p:spPr>
          <a:xfrm>
            <a:off x="291121" y="2586759"/>
            <a:ext cx="11701218" cy="30469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Load comma-delimited source data. Default data type is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chararray</a:t>
            </a: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but temp is a long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int</a:t>
            </a:r>
            <a:endPar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roup the tuple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et the average temp value for each date group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Ungroup the dates with the average tem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ort the result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ave the results in the /weather/summary f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6" name="Rectangle 5"/>
          <p:cNvSpPr/>
          <p:nvPr/>
        </p:nvSpPr>
        <p:spPr>
          <a:xfrm>
            <a:off x="4023945" y="388642"/>
            <a:ext cx="2271346" cy="184665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4</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
        <p:nvSpPr>
          <p:cNvPr id="7" name="Down Arrow 6"/>
          <p:cNvSpPr/>
          <p:nvPr/>
        </p:nvSpPr>
        <p:spPr>
          <a:xfrm>
            <a:off x="4659923" y="1960685"/>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7"/>
          <p:cNvSpPr/>
          <p:nvPr/>
        </p:nvSpPr>
        <p:spPr>
          <a:xfrm>
            <a:off x="3832283" y="6188455"/>
            <a:ext cx="2814701" cy="58477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  14.0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  10.00</a:t>
            </a:r>
          </a:p>
        </p:txBody>
      </p:sp>
      <p:sp>
        <p:nvSpPr>
          <p:cNvPr id="9" name="Down Arrow 8"/>
          <p:cNvSpPr/>
          <p:nvPr/>
        </p:nvSpPr>
        <p:spPr>
          <a:xfrm>
            <a:off x="4659922" y="5562381"/>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989076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79511" y="2066192"/>
            <a:ext cx="5616915" cy="4258410"/>
          </a:xfrm>
        </p:spPr>
        <p:txBody>
          <a:bodyPr>
            <a:normAutofit/>
          </a:bodyPr>
          <a:lstStyle/>
          <a:p>
            <a:r>
              <a:rPr lang="en-GB" dirty="0"/>
              <a:t>LOAD</a:t>
            </a:r>
          </a:p>
          <a:p>
            <a:r>
              <a:rPr lang="en-GB" dirty="0"/>
              <a:t>FILTER</a:t>
            </a:r>
          </a:p>
          <a:p>
            <a:r>
              <a:rPr lang="en-GB" dirty="0"/>
              <a:t>FOR EACH … GENERATE</a:t>
            </a:r>
          </a:p>
          <a:p>
            <a:r>
              <a:rPr lang="en-GB" dirty="0"/>
              <a:t>ORDER</a:t>
            </a:r>
          </a:p>
          <a:p>
            <a:r>
              <a:rPr lang="en-GB" dirty="0"/>
              <a:t>JOIN</a:t>
            </a:r>
          </a:p>
        </p:txBody>
      </p:sp>
      <p:sp>
        <p:nvSpPr>
          <p:cNvPr id="6" name="Content Placeholder 5"/>
          <p:cNvSpPr>
            <a:spLocks noGrp="1"/>
          </p:cNvSpPr>
          <p:nvPr>
            <p:ph sz="quarter" idx="4"/>
          </p:nvPr>
        </p:nvSpPr>
        <p:spPr>
          <a:xfrm>
            <a:off x="6275742" y="2066192"/>
            <a:ext cx="5619121" cy="4258410"/>
          </a:xfrm>
        </p:spPr>
        <p:txBody>
          <a:bodyPr/>
          <a:lstStyle/>
          <a:p>
            <a:r>
              <a:rPr lang="en-GB" dirty="0"/>
              <a:t>GROUP</a:t>
            </a:r>
          </a:p>
          <a:p>
            <a:r>
              <a:rPr lang="en-GB" dirty="0"/>
              <a:t>FLATTEN</a:t>
            </a:r>
          </a:p>
          <a:p>
            <a:r>
              <a:rPr lang="en-GB" dirty="0"/>
              <a:t>LIMIT</a:t>
            </a:r>
          </a:p>
          <a:p>
            <a:r>
              <a:rPr lang="en-GB" dirty="0"/>
              <a:t>DUMP</a:t>
            </a:r>
          </a:p>
          <a:p>
            <a:r>
              <a:rPr lang="en-GB" dirty="0"/>
              <a:t>STORE</a:t>
            </a:r>
            <a:endParaRPr lang="en-US" dirty="0"/>
          </a:p>
        </p:txBody>
      </p:sp>
      <p:sp>
        <p:nvSpPr>
          <p:cNvPr id="2" name="Title 1"/>
          <p:cNvSpPr>
            <a:spLocks noGrp="1"/>
          </p:cNvSpPr>
          <p:nvPr>
            <p:ph type="title"/>
          </p:nvPr>
        </p:nvSpPr>
        <p:spPr/>
        <p:txBody>
          <a:bodyPr/>
          <a:lstStyle/>
          <a:p>
            <a:r>
              <a:rPr lang="en-GB" dirty="0"/>
              <a:t>Common Pig Latin Operations</a:t>
            </a:r>
            <a:endParaRPr lang="en-US" dirty="0"/>
          </a:p>
        </p:txBody>
      </p:sp>
    </p:spTree>
    <p:extLst>
      <p:ext uri="{BB962C8B-B14F-4D97-AF65-F5344CB8AC3E}">
        <p14:creationId xmlns:p14="http://schemas.microsoft.com/office/powerpoint/2010/main" val="5931030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Pig Latin and Map/Reduce</a:t>
            </a:r>
            <a:endParaRPr lang="en-US" dirty="0"/>
          </a:p>
        </p:txBody>
      </p:sp>
      <p:sp>
        <p:nvSpPr>
          <p:cNvPr id="6" name="Content Placeholder 5"/>
          <p:cNvSpPr>
            <a:spLocks noGrp="1"/>
          </p:cNvSpPr>
          <p:nvPr>
            <p:ph sz="quarter" idx="10"/>
          </p:nvPr>
        </p:nvSpPr>
        <p:spPr>
          <a:xfrm>
            <a:off x="379413" y="1388226"/>
            <a:ext cx="11525250" cy="4414697"/>
          </a:xfrm>
        </p:spPr>
        <p:txBody>
          <a:bodyPr/>
          <a:lstStyle/>
          <a:p>
            <a:r>
              <a:rPr lang="en-GB" dirty="0"/>
              <a:t>Pig generates Map/Reduce code from Pig Latin</a:t>
            </a:r>
          </a:p>
          <a:p>
            <a:r>
              <a:rPr lang="en-GB" dirty="0"/>
              <a:t>Map/Reduce jobs are generated on:</a:t>
            </a:r>
          </a:p>
          <a:p>
            <a:pPr lvl="1"/>
            <a:r>
              <a:rPr lang="en-GB" dirty="0"/>
              <a:t>DUMP</a:t>
            </a:r>
          </a:p>
          <a:p>
            <a:pPr lvl="1"/>
            <a:r>
              <a:rPr lang="en-GB" dirty="0"/>
              <a:t>STORE</a:t>
            </a:r>
            <a:endParaRPr lang="en-US" dirty="0"/>
          </a:p>
        </p:txBody>
      </p:sp>
      <p:sp>
        <p:nvSpPr>
          <p:cNvPr id="8" name="Rectangle 7"/>
          <p:cNvSpPr/>
          <p:nvPr/>
        </p:nvSpPr>
        <p:spPr>
          <a:xfrm>
            <a:off x="291121" y="3870436"/>
            <a:ext cx="10699264" cy="156966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1"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9" name="Rounded Rectangular Callout 8"/>
          <p:cNvSpPr/>
          <p:nvPr/>
        </p:nvSpPr>
        <p:spPr>
          <a:xfrm>
            <a:off x="7983415" y="5231423"/>
            <a:ext cx="2479431" cy="967154"/>
          </a:xfrm>
          <a:prstGeom prst="wedgeRoundRectCallout">
            <a:avLst>
              <a:gd name="adj1" fmla="val -137145"/>
              <a:gd name="adj2" fmla="val -4750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Map/Reduce code generated here</a:t>
            </a: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26854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Summary</a:t>
            </a:r>
          </a:p>
        </p:txBody>
      </p:sp>
      <p:sp>
        <p:nvSpPr>
          <p:cNvPr id="3" name="Content Placeholder 2"/>
          <p:cNvSpPr>
            <a:spLocks noGrp="1"/>
          </p:cNvSpPr>
          <p:nvPr>
            <p:ph sz="quarter" idx="10"/>
          </p:nvPr>
        </p:nvSpPr>
        <p:spPr>
          <a:xfrm>
            <a:off x="379413" y="1388226"/>
            <a:ext cx="9027052" cy="5290388"/>
          </a:xfrm>
        </p:spPr>
        <p:txBody>
          <a:bodyPr/>
          <a:lstStyle/>
          <a:p>
            <a:r>
              <a:rPr lang="en-GB" dirty="0"/>
              <a:t>Pig Latin is an extensive language, and easier than writing custom Map/Reduce classes</a:t>
            </a:r>
          </a:p>
          <a:p>
            <a:r>
              <a:rPr lang="en-GB" dirty="0"/>
              <a:t>Pig suits scenarios where data can be processed as a series of transformations</a:t>
            </a:r>
          </a:p>
          <a:p>
            <a:r>
              <a:rPr lang="en-GB" dirty="0"/>
              <a:t>You can run Pig Latin statements and scripts from PowerShell</a:t>
            </a:r>
          </a:p>
        </p:txBody>
      </p:sp>
    </p:spTree>
    <p:extLst>
      <p:ext uri="{BB962C8B-B14F-4D97-AF65-F5344CB8AC3E}">
        <p14:creationId xmlns:p14="http://schemas.microsoft.com/office/powerpoint/2010/main" val="19225034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ig Data Processing Summary</a:t>
            </a:r>
          </a:p>
        </p:txBody>
      </p:sp>
      <p:sp>
        <p:nvSpPr>
          <p:cNvPr id="3" name="Content Placeholder 2"/>
          <p:cNvSpPr>
            <a:spLocks noGrp="1"/>
          </p:cNvSpPr>
          <p:nvPr>
            <p:ph sz="quarter" idx="10"/>
          </p:nvPr>
        </p:nvSpPr>
        <p:spPr>
          <a:xfrm>
            <a:off x="379413" y="1388226"/>
            <a:ext cx="9027052" cy="5290388"/>
          </a:xfrm>
        </p:spPr>
        <p:txBody>
          <a:bodyPr/>
          <a:lstStyle/>
          <a:p>
            <a:r>
              <a:rPr lang="en-GB" dirty="0"/>
              <a:t>Design processes that are repeatable with minimal dependencies</a:t>
            </a:r>
          </a:p>
          <a:p>
            <a:r>
              <a:rPr lang="en-GB" dirty="0"/>
              <a:t>Use </a:t>
            </a:r>
            <a:r>
              <a:rPr lang="en-GB" dirty="0" err="1"/>
              <a:t>HCatalog</a:t>
            </a:r>
            <a:r>
              <a:rPr lang="en-GB" dirty="0"/>
              <a:t> to abstract data storage location and schema</a:t>
            </a:r>
          </a:p>
          <a:p>
            <a:r>
              <a:rPr lang="en-GB" dirty="0"/>
              <a:t>Automate Big Data processing:</a:t>
            </a:r>
          </a:p>
          <a:p>
            <a:pPr lvl="1"/>
            <a:r>
              <a:rPr lang="en-GB" dirty="0"/>
              <a:t>PowerShell</a:t>
            </a:r>
          </a:p>
          <a:p>
            <a:pPr lvl="1"/>
            <a:r>
              <a:rPr lang="en-GB" dirty="0"/>
              <a:t>ADF</a:t>
            </a:r>
          </a:p>
          <a:p>
            <a:pPr lvl="1"/>
            <a:r>
              <a:rPr lang="en-GB" dirty="0" err="1"/>
              <a:t>Oozie</a:t>
            </a:r>
            <a:endParaRPr lang="en-GB" dirty="0"/>
          </a:p>
        </p:txBody>
      </p:sp>
    </p:spTree>
    <p:extLst>
      <p:ext uri="{BB962C8B-B14F-4D97-AF65-F5344CB8AC3E}">
        <p14:creationId xmlns:p14="http://schemas.microsoft.com/office/powerpoint/2010/main" val="2092140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001105717"/>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99434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sp>
        <p:nvSpPr>
          <p:cNvPr id="3" name="Content Placeholder 2"/>
          <p:cNvSpPr>
            <a:spLocks noGrp="1"/>
          </p:cNvSpPr>
          <p:nvPr>
            <p:ph sz="quarter" idx="10"/>
          </p:nvPr>
        </p:nvSpPr>
        <p:spPr/>
        <p:txBody>
          <a:bodyPr/>
          <a:lstStyle/>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tect data at rest and in motion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ith secure authentication</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verage local security policies and features</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mploy a robust auditing and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ing process </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move non-essential sensitive data</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crypt essential sensitive data</a:t>
            </a: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US" dirty="0"/>
          </a:p>
        </p:txBody>
      </p:sp>
      <p:sp>
        <p:nvSpPr>
          <p:cNvPr id="5" name="Slide Number Placeholder 4"/>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defRPr/>
            </a:pPr>
            <a:fld id="{F8A0AC42-AA1D-4944-8D96-660DE70C7E1B}" type="slidenum">
              <a:rPr lang="en-IN" sz="1765" kern="0">
                <a:solidFill>
                  <a:sysClr val="windowText" lastClr="000000"/>
                </a:solidFill>
              </a:rPr>
              <a:pPr defTabSz="896386" fontAlgn="auto">
                <a:spcBef>
                  <a:spcPts val="0"/>
                </a:spcBef>
                <a:spcAft>
                  <a:spcPts val="0"/>
                </a:spcAft>
                <a:defRPr/>
              </a:pPr>
              <a:t>57</a:t>
            </a:fld>
            <a:endParaRPr lang="en-IN" sz="1765" kern="0" dirty="0">
              <a:solidFill>
                <a:sysClr val="windowText" lastClr="000000"/>
              </a:solidFill>
            </a:endParaRPr>
          </a:p>
        </p:txBody>
      </p:sp>
    </p:spTree>
    <p:extLst>
      <p:ext uri="{BB962C8B-B14F-4D97-AF65-F5344CB8AC3E}">
        <p14:creationId xmlns:p14="http://schemas.microsoft.com/office/powerpoint/2010/main" val="336561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55796-8862-4499-BB7F-9DED5083F522}"/>
              </a:ext>
            </a:extLst>
          </p:cNvPr>
          <p:cNvSpPr>
            <a:spLocks noGrp="1"/>
          </p:cNvSpPr>
          <p:nvPr>
            <p:ph type="title"/>
          </p:nvPr>
        </p:nvSpPr>
        <p:spPr/>
        <p:txBody>
          <a:bodyPr/>
          <a:lstStyle/>
          <a:p>
            <a:r>
              <a:rPr lang="en-US" dirty="0"/>
              <a:t>Security best practices	</a:t>
            </a:r>
          </a:p>
        </p:txBody>
      </p:sp>
      <p:sp>
        <p:nvSpPr>
          <p:cNvPr id="3" name="Content Placeholder 2">
            <a:extLst>
              <a:ext uri="{FF2B5EF4-FFF2-40B4-BE49-F238E27FC236}">
                <a16:creationId xmlns:a16="http://schemas.microsoft.com/office/drawing/2014/main" id="{D6CF89D7-A69E-4D68-BBDD-89F6C297CC52}"/>
              </a:ext>
            </a:extLst>
          </p:cNvPr>
          <p:cNvSpPr>
            <a:spLocks noGrp="1"/>
          </p:cNvSpPr>
          <p:nvPr>
            <p:ph sz="quarter" idx="10"/>
          </p:nvPr>
        </p:nvSpPr>
        <p:spPr>
          <a:xfrm>
            <a:off x="288054" y="1245702"/>
            <a:ext cx="11525250" cy="5430082"/>
          </a:xfrm>
        </p:spPr>
        <p:txBody>
          <a:bodyPr/>
          <a:lstStyle/>
          <a:p>
            <a:r>
              <a:rPr lang="en-US" sz="2400" dirty="0"/>
              <a:t>Identity Management &amp; Authentication </a:t>
            </a:r>
          </a:p>
          <a:p>
            <a:pPr marL="0" indent="0">
              <a:buNone/>
            </a:pPr>
            <a:r>
              <a:rPr lang="en-US" sz="2400" dirty="0"/>
              <a:t>	- Azure Active Directory</a:t>
            </a:r>
          </a:p>
          <a:p>
            <a:r>
              <a:rPr lang="en-US" sz="2400" dirty="0"/>
              <a:t>Access Control &amp; Authorization </a:t>
            </a:r>
          </a:p>
          <a:p>
            <a:pPr marL="0" indent="0">
              <a:buNone/>
            </a:pPr>
            <a:r>
              <a:rPr lang="en-US" sz="2400" dirty="0"/>
              <a:t>	- Azure RBAC for Account Management </a:t>
            </a:r>
          </a:p>
          <a:p>
            <a:pPr marL="0" indent="0">
              <a:buNone/>
            </a:pPr>
            <a:r>
              <a:rPr lang="en-US" sz="2400" dirty="0"/>
              <a:t>	- File &amp; Folder level POSIX ACLs</a:t>
            </a:r>
          </a:p>
          <a:p>
            <a:r>
              <a:rPr lang="en-US" sz="2400" dirty="0"/>
              <a:t>Auditing </a:t>
            </a:r>
          </a:p>
          <a:p>
            <a:pPr marL="0" indent="0">
              <a:buNone/>
            </a:pPr>
            <a:r>
              <a:rPr lang="en-US" sz="2400" dirty="0"/>
              <a:t>	- Azure Diagnostic Audit Logs</a:t>
            </a:r>
          </a:p>
          <a:p>
            <a:r>
              <a:rPr lang="en-US" sz="2400" dirty="0"/>
              <a:t>Data Protection &amp; Encryption </a:t>
            </a:r>
          </a:p>
          <a:p>
            <a:pPr marL="0" indent="0">
              <a:buNone/>
            </a:pPr>
            <a:r>
              <a:rPr lang="en-US" sz="2400" dirty="0"/>
              <a:t>	- Encryption on the wire using HTTPS</a:t>
            </a:r>
          </a:p>
          <a:p>
            <a:pPr marL="0" indent="0">
              <a:buNone/>
            </a:pPr>
            <a:r>
              <a:rPr lang="en-US" sz="2400" dirty="0"/>
              <a:t>	- Transparent Service side encryption using service &amp; customer managed keys</a:t>
            </a:r>
          </a:p>
        </p:txBody>
      </p:sp>
    </p:spTree>
    <p:extLst>
      <p:ext uri="{BB962C8B-B14F-4D97-AF65-F5344CB8AC3E}">
        <p14:creationId xmlns:p14="http://schemas.microsoft.com/office/powerpoint/2010/main" val="37460256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5892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8F3AE-ECC5-47B6-B84F-CB239B30DCC7}"/>
              </a:ext>
            </a:extLst>
          </p:cNvPr>
          <p:cNvSpPr>
            <a:spLocks noGrp="1"/>
          </p:cNvSpPr>
          <p:nvPr>
            <p:ph type="title"/>
          </p:nvPr>
        </p:nvSpPr>
        <p:spPr/>
        <p:txBody>
          <a:bodyPr/>
          <a:lstStyle/>
          <a:p>
            <a:r>
              <a:rPr lang="en-US" dirty="0"/>
              <a:t>Hadoop</a:t>
            </a:r>
          </a:p>
        </p:txBody>
      </p:sp>
      <p:sp>
        <p:nvSpPr>
          <p:cNvPr id="3" name="Content Placeholder 2">
            <a:extLst>
              <a:ext uri="{FF2B5EF4-FFF2-40B4-BE49-F238E27FC236}">
                <a16:creationId xmlns:a16="http://schemas.microsoft.com/office/drawing/2014/main" id="{17E7D762-6F45-45A0-8658-68368077A01F}"/>
              </a:ext>
            </a:extLst>
          </p:cNvPr>
          <p:cNvSpPr>
            <a:spLocks noGrp="1"/>
          </p:cNvSpPr>
          <p:nvPr>
            <p:ph sz="quarter" idx="10"/>
          </p:nvPr>
        </p:nvSpPr>
        <p:spPr/>
        <p:txBody>
          <a:bodyPr/>
          <a:lstStyle/>
          <a:p>
            <a:pPr marL="0" indent="0">
              <a:buNone/>
            </a:pPr>
            <a:endParaRPr lang="en-US" dirty="0"/>
          </a:p>
        </p:txBody>
      </p:sp>
      <p:grpSp>
        <p:nvGrpSpPr>
          <p:cNvPr id="67" name="Group 66">
            <a:extLst>
              <a:ext uri="{FF2B5EF4-FFF2-40B4-BE49-F238E27FC236}">
                <a16:creationId xmlns:a16="http://schemas.microsoft.com/office/drawing/2014/main" id="{A06E65BE-9775-4125-861E-6DB78208C01A}"/>
              </a:ext>
            </a:extLst>
          </p:cNvPr>
          <p:cNvGrpSpPr/>
          <p:nvPr/>
        </p:nvGrpSpPr>
        <p:grpSpPr>
          <a:xfrm>
            <a:off x="462330" y="1953228"/>
            <a:ext cx="11306619" cy="3902453"/>
            <a:chOff x="7878099" y="2044668"/>
            <a:chExt cx="3807933" cy="3902453"/>
          </a:xfrm>
        </p:grpSpPr>
        <p:sp>
          <p:nvSpPr>
            <p:cNvPr id="68" name="Rectangle 67">
              <a:extLst>
                <a:ext uri="{FF2B5EF4-FFF2-40B4-BE49-F238E27FC236}">
                  <a16:creationId xmlns:a16="http://schemas.microsoft.com/office/drawing/2014/main" id="{95CBEA83-11BE-43CA-AACE-0B0F973E17A1}"/>
                </a:ext>
              </a:extLst>
            </p:cNvPr>
            <p:cNvSpPr/>
            <p:nvPr/>
          </p:nvSpPr>
          <p:spPr bwMode="auto">
            <a:xfrm>
              <a:off x="7878099" y="2044668"/>
              <a:ext cx="3807933" cy="390245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8D9BB3C1-CF02-4C61-96C4-53CDAF6FACA6}"/>
                </a:ext>
              </a:extLst>
            </p:cNvPr>
            <p:cNvSpPr/>
            <p:nvPr/>
          </p:nvSpPr>
          <p:spPr bwMode="auto">
            <a:xfrm>
              <a:off x="7981350" y="4472850"/>
              <a:ext cx="3602736" cy="1289304"/>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70" name="Group 69">
              <a:extLst>
                <a:ext uri="{FF2B5EF4-FFF2-40B4-BE49-F238E27FC236}">
                  <a16:creationId xmlns:a16="http://schemas.microsoft.com/office/drawing/2014/main" id="{3BDAB814-9DA3-4E9D-B16E-9ED5B531C40B}"/>
                </a:ext>
              </a:extLst>
            </p:cNvPr>
            <p:cNvGrpSpPr/>
            <p:nvPr/>
          </p:nvGrpSpPr>
          <p:grpSpPr>
            <a:xfrm>
              <a:off x="8159627" y="5524692"/>
              <a:ext cx="3238500" cy="164592"/>
              <a:chOff x="7851648" y="2916936"/>
              <a:chExt cx="3238500" cy="164592"/>
            </a:xfrm>
          </p:grpSpPr>
          <p:grpSp>
            <p:nvGrpSpPr>
              <p:cNvPr id="114" name="Group 113">
                <a:extLst>
                  <a:ext uri="{FF2B5EF4-FFF2-40B4-BE49-F238E27FC236}">
                    <a16:creationId xmlns:a16="http://schemas.microsoft.com/office/drawing/2014/main" id="{045343DE-BAD3-4E15-9528-15C116964CB8}"/>
                  </a:ext>
                </a:extLst>
              </p:cNvPr>
              <p:cNvGrpSpPr/>
              <p:nvPr/>
            </p:nvGrpSpPr>
            <p:grpSpPr>
              <a:xfrm>
                <a:off x="7851648" y="2916936"/>
                <a:ext cx="1586484" cy="164592"/>
                <a:chOff x="7851648" y="2916936"/>
                <a:chExt cx="1586484" cy="164592"/>
              </a:xfrm>
            </p:grpSpPr>
            <p:sp>
              <p:nvSpPr>
                <p:cNvPr id="123" name="Rectangle 122">
                  <a:extLst>
                    <a:ext uri="{FF2B5EF4-FFF2-40B4-BE49-F238E27FC236}">
                      <a16:creationId xmlns:a16="http://schemas.microsoft.com/office/drawing/2014/main" id="{976B5DCC-51AB-415B-9613-CF9A69FFEBA4}"/>
                    </a:ext>
                  </a:extLst>
                </p:cNvPr>
                <p:cNvSpPr/>
                <p:nvPr/>
              </p:nvSpPr>
              <p:spPr bwMode="auto">
                <a:xfrm>
                  <a:off x="785164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4" name="Rectangle 123">
                  <a:extLst>
                    <a:ext uri="{FF2B5EF4-FFF2-40B4-BE49-F238E27FC236}">
                      <a16:creationId xmlns:a16="http://schemas.microsoft.com/office/drawing/2014/main" id="{03349E23-09E1-4E0F-9987-B477C130CB84}"/>
                    </a:ext>
                  </a:extLst>
                </p:cNvPr>
                <p:cNvSpPr/>
                <p:nvPr/>
              </p:nvSpPr>
              <p:spPr bwMode="auto">
                <a:xfrm>
                  <a:off x="9264396"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5" name="Rectangle 124">
                  <a:extLst>
                    <a:ext uri="{FF2B5EF4-FFF2-40B4-BE49-F238E27FC236}">
                      <a16:creationId xmlns:a16="http://schemas.microsoft.com/office/drawing/2014/main" id="{F73257EF-FBF1-445D-8BDC-71BDE58E765B}"/>
                    </a:ext>
                  </a:extLst>
                </p:cNvPr>
                <p:cNvSpPr/>
                <p:nvPr/>
              </p:nvSpPr>
              <p:spPr bwMode="auto">
                <a:xfrm>
                  <a:off x="807415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6" name="Rectangle 125">
                  <a:extLst>
                    <a:ext uri="{FF2B5EF4-FFF2-40B4-BE49-F238E27FC236}">
                      <a16:creationId xmlns:a16="http://schemas.microsoft.com/office/drawing/2014/main" id="{E63ABE7C-E42C-495E-BEA5-3BE85AF83C18}"/>
                    </a:ext>
                  </a:extLst>
                </p:cNvPr>
                <p:cNvSpPr/>
                <p:nvPr/>
              </p:nvSpPr>
              <p:spPr bwMode="auto">
                <a:xfrm>
                  <a:off x="831037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44AA1836-1404-4F7C-9FFC-E437F7FB946C}"/>
                    </a:ext>
                  </a:extLst>
                </p:cNvPr>
                <p:cNvSpPr/>
                <p:nvPr/>
              </p:nvSpPr>
              <p:spPr bwMode="auto">
                <a:xfrm>
                  <a:off x="854964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4E1D3F63-693A-4D17-813F-6BC4B346974A}"/>
                    </a:ext>
                  </a:extLst>
                </p:cNvPr>
                <p:cNvSpPr/>
                <p:nvPr/>
              </p:nvSpPr>
              <p:spPr bwMode="auto">
                <a:xfrm>
                  <a:off x="878586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9" name="Rectangle 128">
                  <a:extLst>
                    <a:ext uri="{FF2B5EF4-FFF2-40B4-BE49-F238E27FC236}">
                      <a16:creationId xmlns:a16="http://schemas.microsoft.com/office/drawing/2014/main" id="{9C7FDF1E-4E08-4EA3-9598-8AD6B8A072B3}"/>
                    </a:ext>
                  </a:extLst>
                </p:cNvPr>
                <p:cNvSpPr/>
                <p:nvPr/>
              </p:nvSpPr>
              <p:spPr bwMode="auto">
                <a:xfrm>
                  <a:off x="902512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115" name="Group 114">
                <a:extLst>
                  <a:ext uri="{FF2B5EF4-FFF2-40B4-BE49-F238E27FC236}">
                    <a16:creationId xmlns:a16="http://schemas.microsoft.com/office/drawing/2014/main" id="{0CEBB85A-86ED-4AAB-86C2-2F1A33F328AD}"/>
                  </a:ext>
                </a:extLst>
              </p:cNvPr>
              <p:cNvGrpSpPr/>
              <p:nvPr/>
            </p:nvGrpSpPr>
            <p:grpSpPr>
              <a:xfrm>
                <a:off x="9503664" y="2916936"/>
                <a:ext cx="1586484" cy="164592"/>
                <a:chOff x="7851648" y="2916936"/>
                <a:chExt cx="1586484" cy="164592"/>
              </a:xfrm>
            </p:grpSpPr>
            <p:sp>
              <p:nvSpPr>
                <p:cNvPr id="116" name="Rectangle 115">
                  <a:extLst>
                    <a:ext uri="{FF2B5EF4-FFF2-40B4-BE49-F238E27FC236}">
                      <a16:creationId xmlns:a16="http://schemas.microsoft.com/office/drawing/2014/main" id="{6E690AC0-C440-4466-A185-8E5EA2D08E55}"/>
                    </a:ext>
                  </a:extLst>
                </p:cNvPr>
                <p:cNvSpPr/>
                <p:nvPr/>
              </p:nvSpPr>
              <p:spPr bwMode="auto">
                <a:xfrm>
                  <a:off x="785164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7" name="Rectangle 116">
                  <a:extLst>
                    <a:ext uri="{FF2B5EF4-FFF2-40B4-BE49-F238E27FC236}">
                      <a16:creationId xmlns:a16="http://schemas.microsoft.com/office/drawing/2014/main" id="{726C9591-12ED-407E-9813-35DE9752BAB7}"/>
                    </a:ext>
                  </a:extLst>
                </p:cNvPr>
                <p:cNvSpPr/>
                <p:nvPr/>
              </p:nvSpPr>
              <p:spPr bwMode="auto">
                <a:xfrm>
                  <a:off x="9264396"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8" name="Rectangle 117">
                  <a:extLst>
                    <a:ext uri="{FF2B5EF4-FFF2-40B4-BE49-F238E27FC236}">
                      <a16:creationId xmlns:a16="http://schemas.microsoft.com/office/drawing/2014/main" id="{BC0554F9-199F-4398-A69A-BE2FF2C012EE}"/>
                    </a:ext>
                  </a:extLst>
                </p:cNvPr>
                <p:cNvSpPr/>
                <p:nvPr/>
              </p:nvSpPr>
              <p:spPr bwMode="auto">
                <a:xfrm>
                  <a:off x="807415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9" name="Rectangle 118">
                  <a:extLst>
                    <a:ext uri="{FF2B5EF4-FFF2-40B4-BE49-F238E27FC236}">
                      <a16:creationId xmlns:a16="http://schemas.microsoft.com/office/drawing/2014/main" id="{DC68BB23-EC6C-4A60-80F3-571C7F7E5B51}"/>
                    </a:ext>
                  </a:extLst>
                </p:cNvPr>
                <p:cNvSpPr/>
                <p:nvPr/>
              </p:nvSpPr>
              <p:spPr bwMode="auto">
                <a:xfrm>
                  <a:off x="831037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0" name="Rectangle 119">
                  <a:extLst>
                    <a:ext uri="{FF2B5EF4-FFF2-40B4-BE49-F238E27FC236}">
                      <a16:creationId xmlns:a16="http://schemas.microsoft.com/office/drawing/2014/main" id="{7E456F61-6BE3-43EE-A788-953907FBFE95}"/>
                    </a:ext>
                  </a:extLst>
                </p:cNvPr>
                <p:cNvSpPr/>
                <p:nvPr/>
              </p:nvSpPr>
              <p:spPr bwMode="auto">
                <a:xfrm>
                  <a:off x="854964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1" name="Rectangle 120">
                  <a:extLst>
                    <a:ext uri="{FF2B5EF4-FFF2-40B4-BE49-F238E27FC236}">
                      <a16:creationId xmlns:a16="http://schemas.microsoft.com/office/drawing/2014/main" id="{DEC77A61-5A06-425F-8652-CC9C82C30030}"/>
                    </a:ext>
                  </a:extLst>
                </p:cNvPr>
                <p:cNvSpPr/>
                <p:nvPr/>
              </p:nvSpPr>
              <p:spPr bwMode="auto">
                <a:xfrm>
                  <a:off x="878586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2" name="Rectangle 121">
                  <a:extLst>
                    <a:ext uri="{FF2B5EF4-FFF2-40B4-BE49-F238E27FC236}">
                      <a16:creationId xmlns:a16="http://schemas.microsoft.com/office/drawing/2014/main" id="{BE783866-B805-4814-A738-C33F5804A443}"/>
                    </a:ext>
                  </a:extLst>
                </p:cNvPr>
                <p:cNvSpPr/>
                <p:nvPr/>
              </p:nvSpPr>
              <p:spPr bwMode="auto">
                <a:xfrm>
                  <a:off x="902512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nvGrpSpPr>
            <p:cNvPr id="71" name="Group 70">
              <a:extLst>
                <a:ext uri="{FF2B5EF4-FFF2-40B4-BE49-F238E27FC236}">
                  <a16:creationId xmlns:a16="http://schemas.microsoft.com/office/drawing/2014/main" id="{30483ABE-6FB2-4B81-8F90-45A2C9EDA035}"/>
                </a:ext>
              </a:extLst>
            </p:cNvPr>
            <p:cNvGrpSpPr/>
            <p:nvPr/>
          </p:nvGrpSpPr>
          <p:grpSpPr>
            <a:xfrm>
              <a:off x="8159627" y="4640541"/>
              <a:ext cx="3238500" cy="164592"/>
              <a:chOff x="7851648" y="2916936"/>
              <a:chExt cx="3238500" cy="164592"/>
            </a:xfrm>
          </p:grpSpPr>
          <p:grpSp>
            <p:nvGrpSpPr>
              <p:cNvPr id="98" name="Group 97">
                <a:extLst>
                  <a:ext uri="{FF2B5EF4-FFF2-40B4-BE49-F238E27FC236}">
                    <a16:creationId xmlns:a16="http://schemas.microsoft.com/office/drawing/2014/main" id="{BC3C6EB9-FC93-4D5F-8EDF-F11EA9D8D87D}"/>
                  </a:ext>
                </a:extLst>
              </p:cNvPr>
              <p:cNvGrpSpPr/>
              <p:nvPr/>
            </p:nvGrpSpPr>
            <p:grpSpPr>
              <a:xfrm>
                <a:off x="7851648" y="2916936"/>
                <a:ext cx="1586484" cy="164592"/>
                <a:chOff x="7851648" y="2916936"/>
                <a:chExt cx="1586484" cy="164592"/>
              </a:xfrm>
            </p:grpSpPr>
            <p:sp>
              <p:nvSpPr>
                <p:cNvPr id="107" name="Rectangle 106">
                  <a:extLst>
                    <a:ext uri="{FF2B5EF4-FFF2-40B4-BE49-F238E27FC236}">
                      <a16:creationId xmlns:a16="http://schemas.microsoft.com/office/drawing/2014/main" id="{B9162187-FA84-4132-9164-202485E2BFAF}"/>
                    </a:ext>
                  </a:extLst>
                </p:cNvPr>
                <p:cNvSpPr/>
                <p:nvPr/>
              </p:nvSpPr>
              <p:spPr bwMode="auto">
                <a:xfrm>
                  <a:off x="785164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8" name="Rectangle 107">
                  <a:extLst>
                    <a:ext uri="{FF2B5EF4-FFF2-40B4-BE49-F238E27FC236}">
                      <a16:creationId xmlns:a16="http://schemas.microsoft.com/office/drawing/2014/main" id="{3F9361C8-1DAC-422C-8EA2-371F6C06230A}"/>
                    </a:ext>
                  </a:extLst>
                </p:cNvPr>
                <p:cNvSpPr/>
                <p:nvPr/>
              </p:nvSpPr>
              <p:spPr bwMode="auto">
                <a:xfrm>
                  <a:off x="9264396"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9" name="Rectangle 108">
                  <a:extLst>
                    <a:ext uri="{FF2B5EF4-FFF2-40B4-BE49-F238E27FC236}">
                      <a16:creationId xmlns:a16="http://schemas.microsoft.com/office/drawing/2014/main" id="{5B83D50E-9989-48F4-A5DB-3C5AD7CDF65E}"/>
                    </a:ext>
                  </a:extLst>
                </p:cNvPr>
                <p:cNvSpPr/>
                <p:nvPr/>
              </p:nvSpPr>
              <p:spPr bwMode="auto">
                <a:xfrm>
                  <a:off x="807415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0" name="Rectangle 109">
                  <a:extLst>
                    <a:ext uri="{FF2B5EF4-FFF2-40B4-BE49-F238E27FC236}">
                      <a16:creationId xmlns:a16="http://schemas.microsoft.com/office/drawing/2014/main" id="{D59B684E-8214-4F70-B2DD-B79772097837}"/>
                    </a:ext>
                  </a:extLst>
                </p:cNvPr>
                <p:cNvSpPr/>
                <p:nvPr/>
              </p:nvSpPr>
              <p:spPr bwMode="auto">
                <a:xfrm>
                  <a:off x="831037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1" name="Rectangle 110">
                  <a:extLst>
                    <a:ext uri="{FF2B5EF4-FFF2-40B4-BE49-F238E27FC236}">
                      <a16:creationId xmlns:a16="http://schemas.microsoft.com/office/drawing/2014/main" id="{C443D9CC-C27E-4DB3-AE2F-5B603F511D92}"/>
                    </a:ext>
                  </a:extLst>
                </p:cNvPr>
                <p:cNvSpPr/>
                <p:nvPr/>
              </p:nvSpPr>
              <p:spPr bwMode="auto">
                <a:xfrm>
                  <a:off x="854964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2" name="Rectangle 111">
                  <a:extLst>
                    <a:ext uri="{FF2B5EF4-FFF2-40B4-BE49-F238E27FC236}">
                      <a16:creationId xmlns:a16="http://schemas.microsoft.com/office/drawing/2014/main" id="{3AE598A8-8084-475A-984C-FD8C83D4C24B}"/>
                    </a:ext>
                  </a:extLst>
                </p:cNvPr>
                <p:cNvSpPr/>
                <p:nvPr/>
              </p:nvSpPr>
              <p:spPr bwMode="auto">
                <a:xfrm>
                  <a:off x="878586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3" name="Rectangle 112">
                  <a:extLst>
                    <a:ext uri="{FF2B5EF4-FFF2-40B4-BE49-F238E27FC236}">
                      <a16:creationId xmlns:a16="http://schemas.microsoft.com/office/drawing/2014/main" id="{FAF4300D-250A-4078-AABB-437CB5F9196D}"/>
                    </a:ext>
                  </a:extLst>
                </p:cNvPr>
                <p:cNvSpPr/>
                <p:nvPr/>
              </p:nvSpPr>
              <p:spPr bwMode="auto">
                <a:xfrm>
                  <a:off x="902512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99" name="Group 98">
                <a:extLst>
                  <a:ext uri="{FF2B5EF4-FFF2-40B4-BE49-F238E27FC236}">
                    <a16:creationId xmlns:a16="http://schemas.microsoft.com/office/drawing/2014/main" id="{8564B390-F478-48F5-A19A-B8C39A8E7ADF}"/>
                  </a:ext>
                </a:extLst>
              </p:cNvPr>
              <p:cNvGrpSpPr/>
              <p:nvPr/>
            </p:nvGrpSpPr>
            <p:grpSpPr>
              <a:xfrm>
                <a:off x="9503664" y="2916936"/>
                <a:ext cx="1586484" cy="164592"/>
                <a:chOff x="7851648" y="2916936"/>
                <a:chExt cx="1586484" cy="164592"/>
              </a:xfrm>
            </p:grpSpPr>
            <p:sp>
              <p:nvSpPr>
                <p:cNvPr id="100" name="Rectangle 99">
                  <a:extLst>
                    <a:ext uri="{FF2B5EF4-FFF2-40B4-BE49-F238E27FC236}">
                      <a16:creationId xmlns:a16="http://schemas.microsoft.com/office/drawing/2014/main" id="{36231D93-6C3C-42AA-8471-F328F4AD5681}"/>
                    </a:ext>
                  </a:extLst>
                </p:cNvPr>
                <p:cNvSpPr/>
                <p:nvPr/>
              </p:nvSpPr>
              <p:spPr bwMode="auto">
                <a:xfrm>
                  <a:off x="785164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1" name="Rectangle 100">
                  <a:extLst>
                    <a:ext uri="{FF2B5EF4-FFF2-40B4-BE49-F238E27FC236}">
                      <a16:creationId xmlns:a16="http://schemas.microsoft.com/office/drawing/2014/main" id="{94C7DD9E-B7BE-4600-81D1-6A3423EB138E}"/>
                    </a:ext>
                  </a:extLst>
                </p:cNvPr>
                <p:cNvSpPr/>
                <p:nvPr/>
              </p:nvSpPr>
              <p:spPr bwMode="auto">
                <a:xfrm>
                  <a:off x="9264396"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2" name="Rectangle 101">
                  <a:extLst>
                    <a:ext uri="{FF2B5EF4-FFF2-40B4-BE49-F238E27FC236}">
                      <a16:creationId xmlns:a16="http://schemas.microsoft.com/office/drawing/2014/main" id="{F329F421-E839-4527-B03D-2A0CA685965E}"/>
                    </a:ext>
                  </a:extLst>
                </p:cNvPr>
                <p:cNvSpPr/>
                <p:nvPr/>
              </p:nvSpPr>
              <p:spPr bwMode="auto">
                <a:xfrm>
                  <a:off x="807415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3" name="Rectangle 102">
                  <a:extLst>
                    <a:ext uri="{FF2B5EF4-FFF2-40B4-BE49-F238E27FC236}">
                      <a16:creationId xmlns:a16="http://schemas.microsoft.com/office/drawing/2014/main" id="{F754D8BD-27E8-4713-96AC-183F7FD9DC77}"/>
                    </a:ext>
                  </a:extLst>
                </p:cNvPr>
                <p:cNvSpPr/>
                <p:nvPr/>
              </p:nvSpPr>
              <p:spPr bwMode="auto">
                <a:xfrm>
                  <a:off x="8310372"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4" name="Rectangle 103">
                  <a:extLst>
                    <a:ext uri="{FF2B5EF4-FFF2-40B4-BE49-F238E27FC236}">
                      <a16:creationId xmlns:a16="http://schemas.microsoft.com/office/drawing/2014/main" id="{761D9ED5-24F6-48D4-82C5-EFF97F35FCAD}"/>
                    </a:ext>
                  </a:extLst>
                </p:cNvPr>
                <p:cNvSpPr/>
                <p:nvPr/>
              </p:nvSpPr>
              <p:spPr bwMode="auto">
                <a:xfrm>
                  <a:off x="854964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5" name="Rectangle 104">
                  <a:extLst>
                    <a:ext uri="{FF2B5EF4-FFF2-40B4-BE49-F238E27FC236}">
                      <a16:creationId xmlns:a16="http://schemas.microsoft.com/office/drawing/2014/main" id="{B01DFF39-8D52-466F-8F46-35EC6860CA15}"/>
                    </a:ext>
                  </a:extLst>
                </p:cNvPr>
                <p:cNvSpPr/>
                <p:nvPr/>
              </p:nvSpPr>
              <p:spPr bwMode="auto">
                <a:xfrm>
                  <a:off x="8785860"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6" name="Rectangle 105">
                  <a:extLst>
                    <a:ext uri="{FF2B5EF4-FFF2-40B4-BE49-F238E27FC236}">
                      <a16:creationId xmlns:a16="http://schemas.microsoft.com/office/drawing/2014/main" id="{1AD4E2B1-6326-4EB6-AE63-A792F75089C8}"/>
                    </a:ext>
                  </a:extLst>
                </p:cNvPr>
                <p:cNvSpPr/>
                <p:nvPr/>
              </p:nvSpPr>
              <p:spPr bwMode="auto">
                <a:xfrm>
                  <a:off x="9025128" y="2916936"/>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nvGrpSpPr>
            <p:cNvPr id="72" name="Group 71">
              <a:extLst>
                <a:ext uri="{FF2B5EF4-FFF2-40B4-BE49-F238E27FC236}">
                  <a16:creationId xmlns:a16="http://schemas.microsoft.com/office/drawing/2014/main" id="{24CDB669-4490-4B60-AF41-A98FFA23E36F}"/>
                </a:ext>
              </a:extLst>
            </p:cNvPr>
            <p:cNvGrpSpPr/>
            <p:nvPr/>
          </p:nvGrpSpPr>
          <p:grpSpPr>
            <a:xfrm>
              <a:off x="8159627" y="4920612"/>
              <a:ext cx="1107948" cy="164592"/>
              <a:chOff x="7807994" y="5995770"/>
              <a:chExt cx="1107948" cy="164592"/>
            </a:xfrm>
          </p:grpSpPr>
          <p:sp>
            <p:nvSpPr>
              <p:cNvPr id="93" name="Rectangle 92">
                <a:extLst>
                  <a:ext uri="{FF2B5EF4-FFF2-40B4-BE49-F238E27FC236}">
                    <a16:creationId xmlns:a16="http://schemas.microsoft.com/office/drawing/2014/main" id="{00466933-3491-4F53-B46C-B31B8D17FB24}"/>
                  </a:ext>
                </a:extLst>
              </p:cNvPr>
              <p:cNvSpPr/>
              <p:nvPr/>
            </p:nvSpPr>
            <p:spPr bwMode="auto">
              <a:xfrm>
                <a:off x="7807994"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4" name="Rectangle 93">
                <a:extLst>
                  <a:ext uri="{FF2B5EF4-FFF2-40B4-BE49-F238E27FC236}">
                    <a16:creationId xmlns:a16="http://schemas.microsoft.com/office/drawing/2014/main" id="{CFDCD47D-8061-4CB1-B317-1DCD3C2B627C}"/>
                  </a:ext>
                </a:extLst>
              </p:cNvPr>
              <p:cNvSpPr/>
              <p:nvPr/>
            </p:nvSpPr>
            <p:spPr bwMode="auto">
              <a:xfrm>
                <a:off x="8030498"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5" name="Rectangle 94">
                <a:extLst>
                  <a:ext uri="{FF2B5EF4-FFF2-40B4-BE49-F238E27FC236}">
                    <a16:creationId xmlns:a16="http://schemas.microsoft.com/office/drawing/2014/main" id="{BF2D1266-B101-49A9-B37E-02D611A44925}"/>
                  </a:ext>
                </a:extLst>
              </p:cNvPr>
              <p:cNvSpPr/>
              <p:nvPr/>
            </p:nvSpPr>
            <p:spPr bwMode="auto">
              <a:xfrm>
                <a:off x="8266718"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6" name="Rectangle 95">
                <a:extLst>
                  <a:ext uri="{FF2B5EF4-FFF2-40B4-BE49-F238E27FC236}">
                    <a16:creationId xmlns:a16="http://schemas.microsoft.com/office/drawing/2014/main" id="{D83C09C1-B23D-48F9-9C45-D3586FC11CF4}"/>
                  </a:ext>
                </a:extLst>
              </p:cNvPr>
              <p:cNvSpPr/>
              <p:nvPr/>
            </p:nvSpPr>
            <p:spPr bwMode="auto">
              <a:xfrm>
                <a:off x="8505986"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4B093D06-27E9-48C5-ADE0-8E1C2790CE6A}"/>
                  </a:ext>
                </a:extLst>
              </p:cNvPr>
              <p:cNvSpPr/>
              <p:nvPr/>
            </p:nvSpPr>
            <p:spPr bwMode="auto">
              <a:xfrm>
                <a:off x="8742206"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73" name="Rectangle 72">
              <a:extLst>
                <a:ext uri="{FF2B5EF4-FFF2-40B4-BE49-F238E27FC236}">
                  <a16:creationId xmlns:a16="http://schemas.microsoft.com/office/drawing/2014/main" id="{4B1E9B46-DD11-4996-9499-125E990F9B92}"/>
                </a:ext>
              </a:extLst>
            </p:cNvPr>
            <p:cNvSpPr/>
            <p:nvPr/>
          </p:nvSpPr>
          <p:spPr bwMode="auto">
            <a:xfrm>
              <a:off x="8142863" y="5221567"/>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4" name="TextBox 73">
              <a:extLst>
                <a:ext uri="{FF2B5EF4-FFF2-40B4-BE49-F238E27FC236}">
                  <a16:creationId xmlns:a16="http://schemas.microsoft.com/office/drawing/2014/main" id="{322E4D86-8537-4804-9396-86485179838B}"/>
                </a:ext>
              </a:extLst>
            </p:cNvPr>
            <p:cNvSpPr txBox="1"/>
            <p:nvPr/>
          </p:nvSpPr>
          <p:spPr>
            <a:xfrm>
              <a:off x="9233058" y="4736502"/>
              <a:ext cx="1211580" cy="475488"/>
            </a:xfrm>
            <a:prstGeom prst="rect">
              <a:avLst/>
            </a:prstGeom>
            <a:noFill/>
          </p:spPr>
          <p:txBody>
            <a:bodyPr wrap="non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HDFS</a:t>
              </a:r>
            </a:p>
          </p:txBody>
        </p:sp>
        <p:sp>
          <p:nvSpPr>
            <p:cNvPr id="75" name="Rectangle 74">
              <a:extLst>
                <a:ext uri="{FF2B5EF4-FFF2-40B4-BE49-F238E27FC236}">
                  <a16:creationId xmlns:a16="http://schemas.microsoft.com/office/drawing/2014/main" id="{05DE0C45-7477-48D6-8D49-1F7FE012AA61}"/>
                </a:ext>
              </a:extLst>
            </p:cNvPr>
            <p:cNvSpPr/>
            <p:nvPr/>
          </p:nvSpPr>
          <p:spPr bwMode="auto">
            <a:xfrm>
              <a:off x="7981350" y="3608152"/>
              <a:ext cx="3602736" cy="905256"/>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6" name="Rectangle 75">
              <a:extLst>
                <a:ext uri="{FF2B5EF4-FFF2-40B4-BE49-F238E27FC236}">
                  <a16:creationId xmlns:a16="http://schemas.microsoft.com/office/drawing/2014/main" id="{EC3FB89A-81C1-4BB5-B19A-9F1EDA85A916}"/>
                </a:ext>
              </a:extLst>
            </p:cNvPr>
            <p:cNvSpPr/>
            <p:nvPr/>
          </p:nvSpPr>
          <p:spPr bwMode="auto">
            <a:xfrm>
              <a:off x="7981350" y="2629744"/>
              <a:ext cx="3602736" cy="978408"/>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7" name="TextBox 76">
              <a:extLst>
                <a:ext uri="{FF2B5EF4-FFF2-40B4-BE49-F238E27FC236}">
                  <a16:creationId xmlns:a16="http://schemas.microsoft.com/office/drawing/2014/main" id="{17A2E068-A89D-42A5-AEA8-62ADBFA2610A}"/>
                </a:ext>
              </a:extLst>
            </p:cNvPr>
            <p:cNvSpPr txBox="1"/>
            <p:nvPr/>
          </p:nvSpPr>
          <p:spPr>
            <a:xfrm>
              <a:off x="9173087" y="3769550"/>
              <a:ext cx="1211580" cy="475488"/>
            </a:xfrm>
            <a:prstGeom prst="rect">
              <a:avLst/>
            </a:prstGeom>
            <a:noFill/>
          </p:spPr>
          <p:txBody>
            <a:bodyPr wrap="none" lIns="182880" tIns="146304" rIns="182880" bIns="146304" rtlCol="0">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YARN</a:t>
              </a:r>
              <a:br>
                <a:rPr kumimoji="0" lang="en-US" sz="24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luster resource manager)</a:t>
              </a:r>
            </a:p>
          </p:txBody>
        </p:sp>
        <p:sp>
          <p:nvSpPr>
            <p:cNvPr id="78" name="Trapezoid 77">
              <a:extLst>
                <a:ext uri="{FF2B5EF4-FFF2-40B4-BE49-F238E27FC236}">
                  <a16:creationId xmlns:a16="http://schemas.microsoft.com/office/drawing/2014/main" id="{A619DFDD-218E-4976-848F-831F68953DCA}"/>
                </a:ext>
              </a:extLst>
            </p:cNvPr>
            <p:cNvSpPr/>
            <p:nvPr/>
          </p:nvSpPr>
          <p:spPr bwMode="auto">
            <a:xfrm flipV="1">
              <a:off x="8460648" y="3599191"/>
              <a:ext cx="994410" cy="265176"/>
            </a:xfrm>
            <a:prstGeom prst="trapezoid">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9" name="Trapezoid 78">
              <a:extLst>
                <a:ext uri="{FF2B5EF4-FFF2-40B4-BE49-F238E27FC236}">
                  <a16:creationId xmlns:a16="http://schemas.microsoft.com/office/drawing/2014/main" id="{D079CBA6-E576-4745-8DDB-8CD8AC5A294B}"/>
                </a:ext>
              </a:extLst>
            </p:cNvPr>
            <p:cNvSpPr/>
            <p:nvPr/>
          </p:nvSpPr>
          <p:spPr bwMode="auto">
            <a:xfrm flipV="1">
              <a:off x="10127142" y="3606628"/>
              <a:ext cx="994410" cy="265176"/>
            </a:xfrm>
            <a:prstGeom prst="trapezoid">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0" name="TextBox 79">
              <a:extLst>
                <a:ext uri="{FF2B5EF4-FFF2-40B4-BE49-F238E27FC236}">
                  <a16:creationId xmlns:a16="http://schemas.microsoft.com/office/drawing/2014/main" id="{98F6AB47-C454-4D30-B5E8-F9C6FFAE303D}"/>
                </a:ext>
              </a:extLst>
            </p:cNvPr>
            <p:cNvSpPr txBox="1"/>
            <p:nvPr/>
          </p:nvSpPr>
          <p:spPr>
            <a:xfrm>
              <a:off x="7981796" y="2643243"/>
              <a:ext cx="1811274" cy="568452"/>
            </a:xfrm>
            <a:prstGeom prst="rect">
              <a:avLst/>
            </a:prstGeom>
            <a:noFill/>
          </p:spPr>
          <p:txBody>
            <a:bodyPr wrap="none" lIns="182880" tIns="146304" rIns="182880" bIns="146304" rtlCol="0">
              <a:noAutofit/>
            </a:bodyPr>
            <a:lstStyle>
              <a:defPPr>
                <a:defRPr lang="en-US"/>
              </a:defPPr>
              <a:lvl1pPr>
                <a:lnSpc>
                  <a:spcPct val="90000"/>
                </a:lnSpc>
                <a:spcAft>
                  <a:spcPts val="600"/>
                </a:spcAft>
                <a:defRPr sz="2400" b="1">
                  <a:solidFill>
                    <a:schemeClr val="bg1"/>
                  </a:soli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MapReduce</a:t>
              </a:r>
            </a:p>
          </p:txBody>
        </p:sp>
        <p:sp>
          <p:nvSpPr>
            <p:cNvPr id="81" name="TextBox 80">
              <a:extLst>
                <a:ext uri="{FF2B5EF4-FFF2-40B4-BE49-F238E27FC236}">
                  <a16:creationId xmlns:a16="http://schemas.microsoft.com/office/drawing/2014/main" id="{0B5F4E1C-3AAF-4922-8A5C-85C7150F1891}"/>
                </a:ext>
              </a:extLst>
            </p:cNvPr>
            <p:cNvSpPr txBox="1"/>
            <p:nvPr/>
          </p:nvSpPr>
          <p:spPr>
            <a:xfrm>
              <a:off x="10348884" y="2639716"/>
              <a:ext cx="914400" cy="553277"/>
            </a:xfrm>
            <a:prstGeom prst="rect">
              <a:avLst/>
            </a:prstGeom>
            <a:noFill/>
          </p:spPr>
          <p:txBody>
            <a:bodyPr wrap="none" lIns="182880" tIns="146304" rIns="182880" bIns="146304" rtlCol="0">
              <a:noAutofit/>
            </a:bodyPr>
            <a:lstStyle>
              <a:defPPr>
                <a:defRPr lang="en-US"/>
              </a:defPPr>
              <a:lvl1pPr>
                <a:lnSpc>
                  <a:spcPct val="90000"/>
                </a:lnSpc>
                <a:spcAft>
                  <a:spcPts val="600"/>
                </a:spcAft>
                <a:defRPr sz="2400" b="1">
                  <a:solidFill>
                    <a:schemeClr val="bg1"/>
                  </a:soli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err="1">
                  <a:ln>
                    <a:noFill/>
                  </a:ln>
                  <a:solidFill>
                    <a:srgbClr val="FFFFFF"/>
                  </a:solidFill>
                  <a:effectLst/>
                  <a:uLnTx/>
                  <a:uFillTx/>
                  <a:latin typeface="Segoe UI Semibold" panose="020B0702040204020203" pitchFamily="34" charset="0"/>
                  <a:cs typeface="Segoe UI Semibold" panose="020B0702040204020203" pitchFamily="34" charset="0"/>
                </a:rPr>
                <a:t>Tez</a:t>
              </a: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p:txBody>
        </p:sp>
        <p:cxnSp>
          <p:nvCxnSpPr>
            <p:cNvPr id="82" name="Straight Connector 81">
              <a:extLst>
                <a:ext uri="{FF2B5EF4-FFF2-40B4-BE49-F238E27FC236}">
                  <a16:creationId xmlns:a16="http://schemas.microsoft.com/office/drawing/2014/main" id="{35A59424-F0A7-4CC9-9450-CCF1B77AC512}"/>
                </a:ext>
              </a:extLst>
            </p:cNvPr>
            <p:cNvCxnSpPr>
              <a:stCxn id="76" idx="0"/>
              <a:endCxn id="75" idx="0"/>
            </p:cNvCxnSpPr>
            <p:nvPr/>
          </p:nvCxnSpPr>
          <p:spPr>
            <a:xfrm>
              <a:off x="9782718" y="2629744"/>
              <a:ext cx="0" cy="978408"/>
            </a:xfrm>
            <a:prstGeom prst="line">
              <a:avLst/>
            </a:prstGeom>
            <a:noFill/>
            <a:ln w="9525" cap="flat" cmpd="sng" algn="ctr">
              <a:solidFill>
                <a:srgbClr val="FF8C00"/>
              </a:solidFill>
              <a:prstDash val="dash"/>
              <a:headEnd type="none"/>
              <a:tailEnd type="none"/>
            </a:ln>
            <a:effectLst/>
          </p:spPr>
        </p:cxnSp>
        <p:sp>
          <p:nvSpPr>
            <p:cNvPr id="83" name="Rectangle 82">
              <a:extLst>
                <a:ext uri="{FF2B5EF4-FFF2-40B4-BE49-F238E27FC236}">
                  <a16:creationId xmlns:a16="http://schemas.microsoft.com/office/drawing/2014/main" id="{AAEF74A1-516F-48E3-962F-2769380D9D8B}"/>
                </a:ext>
              </a:extLst>
            </p:cNvPr>
            <p:cNvSpPr/>
            <p:nvPr/>
          </p:nvSpPr>
          <p:spPr>
            <a:xfrm>
              <a:off x="8318842" y="5193701"/>
              <a:ext cx="2834430" cy="313932"/>
            </a:xfrm>
            <a:prstGeom prst="rect">
              <a:avLst/>
            </a:prstGeom>
          </p:spPr>
          <p:txBody>
            <a:bodyPr wrap="none">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redundant, reliable storage)</a:t>
              </a:r>
            </a:p>
          </p:txBody>
        </p:sp>
        <p:sp>
          <p:nvSpPr>
            <p:cNvPr id="84" name="TextBox 83">
              <a:extLst>
                <a:ext uri="{FF2B5EF4-FFF2-40B4-BE49-F238E27FC236}">
                  <a16:creationId xmlns:a16="http://schemas.microsoft.com/office/drawing/2014/main" id="{AEF2AE5A-9960-4DBB-921A-35245D36620D}"/>
                </a:ext>
              </a:extLst>
            </p:cNvPr>
            <p:cNvSpPr txBox="1"/>
            <p:nvPr/>
          </p:nvSpPr>
          <p:spPr>
            <a:xfrm>
              <a:off x="7879404" y="2176208"/>
              <a:ext cx="3704682" cy="299755"/>
            </a:xfrm>
            <a:prstGeom prst="rect">
              <a:avLst/>
            </a:prstGeom>
            <a:noFill/>
          </p:spPr>
          <p:txBody>
            <a:bodyPr wrap="none" lIns="182880" tIns="146304" rIns="182880" bIns="146304" rtlCol="0" anchor="ctr">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000000">
                      <a:lumMod val="85000"/>
                      <a:lumOff val="15000"/>
                    </a:srgbClr>
                  </a:solidFill>
                  <a:effectLst/>
                  <a:uLnTx/>
                  <a:uFillTx/>
                  <a:latin typeface="Segoe UI Semibold" panose="020B0702040204020203" pitchFamily="34" charset="0"/>
                  <a:cs typeface="Segoe UI Semibold" panose="020B0702040204020203" pitchFamily="34" charset="0"/>
                </a:rPr>
                <a:t>Hadoop Core</a:t>
              </a:r>
            </a:p>
          </p:txBody>
        </p:sp>
        <p:grpSp>
          <p:nvGrpSpPr>
            <p:cNvPr id="85" name="Group 84">
              <a:extLst>
                <a:ext uri="{FF2B5EF4-FFF2-40B4-BE49-F238E27FC236}">
                  <a16:creationId xmlns:a16="http://schemas.microsoft.com/office/drawing/2014/main" id="{57E07A0C-51A3-44E5-B3C9-7E0D0101A130}"/>
                </a:ext>
              </a:extLst>
            </p:cNvPr>
            <p:cNvGrpSpPr/>
            <p:nvPr/>
          </p:nvGrpSpPr>
          <p:grpSpPr>
            <a:xfrm>
              <a:off x="10310510" y="4941036"/>
              <a:ext cx="1107948" cy="164592"/>
              <a:chOff x="7807994" y="5995770"/>
              <a:chExt cx="1107948" cy="164592"/>
            </a:xfrm>
          </p:grpSpPr>
          <p:sp>
            <p:nvSpPr>
              <p:cNvPr id="88" name="Rectangle 87">
                <a:extLst>
                  <a:ext uri="{FF2B5EF4-FFF2-40B4-BE49-F238E27FC236}">
                    <a16:creationId xmlns:a16="http://schemas.microsoft.com/office/drawing/2014/main" id="{6AD6CE91-26CA-4D4F-B0C3-E5AD57DBE83C}"/>
                  </a:ext>
                </a:extLst>
              </p:cNvPr>
              <p:cNvSpPr/>
              <p:nvPr/>
            </p:nvSpPr>
            <p:spPr bwMode="auto">
              <a:xfrm>
                <a:off x="7807994"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9" name="Rectangle 88">
                <a:extLst>
                  <a:ext uri="{FF2B5EF4-FFF2-40B4-BE49-F238E27FC236}">
                    <a16:creationId xmlns:a16="http://schemas.microsoft.com/office/drawing/2014/main" id="{17AF3A5D-E413-4642-9372-99B42BC1584A}"/>
                  </a:ext>
                </a:extLst>
              </p:cNvPr>
              <p:cNvSpPr/>
              <p:nvPr/>
            </p:nvSpPr>
            <p:spPr bwMode="auto">
              <a:xfrm>
                <a:off x="8030498"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0" name="Rectangle 89">
                <a:extLst>
                  <a:ext uri="{FF2B5EF4-FFF2-40B4-BE49-F238E27FC236}">
                    <a16:creationId xmlns:a16="http://schemas.microsoft.com/office/drawing/2014/main" id="{5E98619A-E92C-40B7-B04E-E458AC44BD75}"/>
                  </a:ext>
                </a:extLst>
              </p:cNvPr>
              <p:cNvSpPr/>
              <p:nvPr/>
            </p:nvSpPr>
            <p:spPr bwMode="auto">
              <a:xfrm>
                <a:off x="8266718"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1" name="Rectangle 90">
                <a:extLst>
                  <a:ext uri="{FF2B5EF4-FFF2-40B4-BE49-F238E27FC236}">
                    <a16:creationId xmlns:a16="http://schemas.microsoft.com/office/drawing/2014/main" id="{C376F3B0-FE34-42A3-97D7-352CCC18C3D3}"/>
                  </a:ext>
                </a:extLst>
              </p:cNvPr>
              <p:cNvSpPr/>
              <p:nvPr/>
            </p:nvSpPr>
            <p:spPr bwMode="auto">
              <a:xfrm>
                <a:off x="8505986"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2" name="Rectangle 91">
                <a:extLst>
                  <a:ext uri="{FF2B5EF4-FFF2-40B4-BE49-F238E27FC236}">
                    <a16:creationId xmlns:a16="http://schemas.microsoft.com/office/drawing/2014/main" id="{452C432F-7036-4000-96A6-618EAB844F65}"/>
                  </a:ext>
                </a:extLst>
              </p:cNvPr>
              <p:cNvSpPr/>
              <p:nvPr/>
            </p:nvSpPr>
            <p:spPr bwMode="auto">
              <a:xfrm>
                <a:off x="8742206" y="5995770"/>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86" name="Rectangle 85">
              <a:extLst>
                <a:ext uri="{FF2B5EF4-FFF2-40B4-BE49-F238E27FC236}">
                  <a16:creationId xmlns:a16="http://schemas.microsoft.com/office/drawing/2014/main" id="{BE1C4895-7B5E-46DA-9350-D1B12A8B30EA}"/>
                </a:ext>
              </a:extLst>
            </p:cNvPr>
            <p:cNvSpPr/>
            <p:nvPr/>
          </p:nvSpPr>
          <p:spPr bwMode="auto">
            <a:xfrm>
              <a:off x="11226996" y="5241991"/>
              <a:ext cx="173736" cy="16459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7" name="Rectangle 86">
              <a:extLst>
                <a:ext uri="{FF2B5EF4-FFF2-40B4-BE49-F238E27FC236}">
                  <a16:creationId xmlns:a16="http://schemas.microsoft.com/office/drawing/2014/main" id="{28A652E0-AA18-4EAE-8779-F6BEED9781F9}"/>
                </a:ext>
              </a:extLst>
            </p:cNvPr>
            <p:cNvSpPr/>
            <p:nvPr/>
          </p:nvSpPr>
          <p:spPr>
            <a:xfrm>
              <a:off x="8292130" y="3225067"/>
              <a:ext cx="2846228" cy="313932"/>
            </a:xfrm>
            <a:prstGeom prst="rect">
              <a:avLst/>
            </a:prstGeom>
          </p:spPr>
          <p:txBody>
            <a:bodyPr wrap="none">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data processing framework)</a:t>
              </a:r>
            </a:p>
          </p:txBody>
        </p:sp>
      </p:grpSp>
    </p:spTree>
    <p:extLst>
      <p:ext uri="{BB962C8B-B14F-4D97-AF65-F5344CB8AC3E}">
        <p14:creationId xmlns:p14="http://schemas.microsoft.com/office/powerpoint/2010/main" val="4004685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705" dirty="0"/>
              <a:t>Hadoop is a platform with portfolio of projects</a:t>
            </a:r>
          </a:p>
        </p:txBody>
      </p:sp>
      <p:sp>
        <p:nvSpPr>
          <p:cNvPr id="3" name="Text Placeholder 2"/>
          <p:cNvSpPr>
            <a:spLocks noGrp="1"/>
          </p:cNvSpPr>
          <p:nvPr>
            <p:ph type="body" sz="quarter" idx="11"/>
          </p:nvPr>
        </p:nvSpPr>
        <p:spPr/>
        <p:txBody>
          <a:bodyPr/>
          <a:lstStyle/>
          <a:p>
            <a:pPr marL="457200" indent="-457200">
              <a:spcAft>
                <a:spcPts val="588"/>
              </a:spcAft>
              <a:buFont typeface="Arial" panose="020B0604020202020204" pitchFamily="34" charset="0"/>
              <a:buChar char="•"/>
            </a:pPr>
            <a:r>
              <a:rPr lang="en-US" sz="3200" kern="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rPr>
              <a:t>Governed by Apache Software Foundation (ASF)</a:t>
            </a:r>
          </a:p>
          <a:p>
            <a:pPr marL="457200" indent="-457200">
              <a:spcAft>
                <a:spcPts val="588"/>
              </a:spcAft>
              <a:buFont typeface="Arial" panose="020B0604020202020204" pitchFamily="34" charset="0"/>
              <a:buChar char="•"/>
            </a:pPr>
            <a:r>
              <a:rPr lang="en-US" sz="3200" kern="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rPr>
              <a:t>Comprises core services of MapReduce, HDFS, and YARN</a:t>
            </a:r>
          </a:p>
        </p:txBody>
      </p:sp>
      <p:sp>
        <p:nvSpPr>
          <p:cNvPr id="103" name="Rectangle 102"/>
          <p:cNvSpPr/>
          <p:nvPr/>
        </p:nvSpPr>
        <p:spPr>
          <a:xfrm>
            <a:off x="275999" y="3496899"/>
            <a:ext cx="11549588" cy="2838260"/>
          </a:xfrm>
          <a:prstGeom prst="rect">
            <a:avLst/>
          </a:prstGeom>
          <a:solidFill>
            <a:schemeClr val="bg2"/>
          </a:solidFill>
          <a:ln w="38100" cmpd="sng">
            <a:noFill/>
          </a:ln>
          <a:effectLst/>
        </p:spPr>
        <p:style>
          <a:lnRef idx="2">
            <a:schemeClr val="accent1"/>
          </a:lnRef>
          <a:fillRef idx="0">
            <a:schemeClr val="accent1"/>
          </a:fillRef>
          <a:effectRef idx="1">
            <a:schemeClr val="accent1"/>
          </a:effectRef>
          <a:fontRef idx="minor">
            <a:schemeClr val="tx1"/>
          </a:fontRef>
        </p:style>
        <p:txBody>
          <a:bodyPr rtlCol="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56628" marR="0" lvl="0" indent="0" algn="l" defTabSz="448193"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0" normalizeH="0" baseline="0" noProof="0" dirty="0">
                <a:ln>
                  <a:noFill/>
                </a:ln>
                <a:solidFill>
                  <a:srgbClr val="FFFFFF"/>
                </a:solidFill>
                <a:effectLst/>
                <a:uLnTx/>
                <a:uFillTx/>
                <a:latin typeface="Arial"/>
                <a:ea typeface="+mn-ea"/>
                <a:cs typeface="Arial"/>
              </a:rPr>
              <a:t>    </a:t>
            </a:r>
          </a:p>
        </p:txBody>
      </p:sp>
      <p:grpSp>
        <p:nvGrpSpPr>
          <p:cNvPr id="104" name="Group 103"/>
          <p:cNvGrpSpPr/>
          <p:nvPr/>
        </p:nvGrpSpPr>
        <p:grpSpPr>
          <a:xfrm>
            <a:off x="384346" y="3606310"/>
            <a:ext cx="2290920" cy="2619435"/>
            <a:chOff x="417452" y="3963789"/>
            <a:chExt cx="2336858" cy="2671960"/>
          </a:xfrm>
        </p:grpSpPr>
        <p:sp>
          <p:nvSpPr>
            <p:cNvPr id="105" name="Rectangle 104"/>
            <p:cNvSpPr/>
            <p:nvPr/>
          </p:nvSpPr>
          <p:spPr>
            <a:xfrm>
              <a:off x="417452"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Governance and integration</a:t>
              </a:r>
            </a:p>
          </p:txBody>
        </p:sp>
        <p:sp>
          <p:nvSpPr>
            <p:cNvPr id="106" name="Rectangle 105"/>
            <p:cNvSpPr/>
            <p:nvPr/>
          </p:nvSpPr>
          <p:spPr>
            <a:xfrm>
              <a:off x="417452" y="4366378"/>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Data workflow, lifecycle and governance</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Falc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Sqoop</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Flume</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NFS</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WebHDFS</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grpSp>
      <p:grpSp>
        <p:nvGrpSpPr>
          <p:cNvPr id="107" name="Group 106"/>
          <p:cNvGrpSpPr/>
          <p:nvPr/>
        </p:nvGrpSpPr>
        <p:grpSpPr>
          <a:xfrm>
            <a:off x="2732161" y="3606312"/>
            <a:ext cx="4260706" cy="2619434"/>
            <a:chOff x="2804592" y="3963789"/>
            <a:chExt cx="4346142" cy="2671959"/>
          </a:xfrm>
        </p:grpSpPr>
        <p:sp>
          <p:nvSpPr>
            <p:cNvPr id="108" name="Rectangle 107"/>
            <p:cNvSpPr/>
            <p:nvPr/>
          </p:nvSpPr>
          <p:spPr>
            <a:xfrm>
              <a:off x="2804592" y="5441881"/>
              <a:ext cx="4346141" cy="1193867"/>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078" b="1" i="0" u="none" strike="noStrike" kern="1200" cap="none" spc="0" normalizeH="0" baseline="0" noProof="0" dirty="0">
                  <a:ln>
                    <a:noFill/>
                  </a:ln>
                  <a:solidFill>
                    <a:prstClr val="black">
                      <a:lumMod val="65000"/>
                      <a:lumOff val="35000"/>
                    </a:prstClr>
                  </a:solidFill>
                  <a:effectLst/>
                  <a:uLnTx/>
                  <a:uFillTx/>
                  <a:latin typeface="Arial"/>
                  <a:ea typeface="+mn-ea"/>
                  <a:cs typeface="Arial"/>
                </a:rPr>
                <a:t> </a:t>
              </a:r>
            </a:p>
          </p:txBody>
        </p:sp>
        <p:sp>
          <p:nvSpPr>
            <p:cNvPr id="109" name="Rectangle 108"/>
            <p:cNvSpPr/>
            <p:nvPr/>
          </p:nvSpPr>
          <p:spPr>
            <a:xfrm>
              <a:off x="2804594" y="4366380"/>
              <a:ext cx="4346140" cy="1035884"/>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endParaRPr kumimoji="0" lang="en-US" sz="1078" b="1" i="0" u="none" strike="noStrike" kern="1200" cap="none" spc="0" normalizeH="0" baseline="0" noProof="0" dirty="0">
                <a:ln>
                  <a:noFill/>
                </a:ln>
                <a:solidFill>
                  <a:prstClr val="black">
                    <a:lumMod val="65000"/>
                    <a:lumOff val="35000"/>
                  </a:prstClr>
                </a:solidFill>
                <a:effectLst/>
                <a:uLnTx/>
                <a:uFillTx/>
                <a:latin typeface="Arial"/>
                <a:ea typeface="+mn-ea"/>
                <a:cs typeface="Arial"/>
              </a:endParaRPr>
            </a:p>
          </p:txBody>
        </p:sp>
        <p:sp>
          <p:nvSpPr>
            <p:cNvPr id="110" name="Rectangle 109"/>
            <p:cNvSpPr>
              <a:spLocks/>
            </p:cNvSpPr>
            <p:nvPr/>
          </p:nvSpPr>
          <p:spPr>
            <a:xfrm>
              <a:off x="2893160" y="5169183"/>
              <a:ext cx="4149460" cy="461997"/>
            </a:xfrm>
            <a:prstGeom prst="rect">
              <a:avLst/>
            </a:prstGeom>
            <a:solidFill>
              <a:schemeClr val="accent2">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134464" rIns="179285"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YARN: data operating system</a:t>
              </a:r>
            </a:p>
          </p:txBody>
        </p:sp>
        <p:sp>
          <p:nvSpPr>
            <p:cNvPr id="111" name="Rounded Rectangle 37"/>
            <p:cNvSpPr>
              <a:spLocks/>
            </p:cNvSpPr>
            <p:nvPr/>
          </p:nvSpPr>
          <p:spPr>
            <a:xfrm>
              <a:off x="347179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cript</a:t>
              </a:r>
            </a:p>
            <a:p>
              <a:pPr marL="0" marR="0" lvl="0" indent="0" algn="l" defTabSz="448193" rtl="0" eaLnBrk="1" fontAlgn="auto" latinLnBrk="0" hangingPunct="1">
                <a:lnSpc>
                  <a:spcPct val="90000"/>
                </a:lnSpc>
                <a:spcBef>
                  <a:spcPts val="0"/>
                </a:spcBef>
                <a:spcAft>
                  <a:spcPts val="0"/>
                </a:spcAft>
                <a:buClrTx/>
                <a:buSzTx/>
                <a:buFontTx/>
                <a:buNone/>
                <a:tabLst/>
                <a:defRPr/>
              </a:pPr>
              <a:b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b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Pi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4" name="Rounded Rectangle 37"/>
            <p:cNvSpPr>
              <a:spLocks/>
            </p:cNvSpPr>
            <p:nvPr/>
          </p:nvSpPr>
          <p:spPr>
            <a:xfrm>
              <a:off x="5786335"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earch</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ol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6" name="Rounded Rectangle 37"/>
            <p:cNvSpPr>
              <a:spLocks/>
            </p:cNvSpPr>
            <p:nvPr/>
          </p:nvSpPr>
          <p:spPr>
            <a:xfrm>
              <a:off x="405042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QL</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Hive/Tez, HCatalo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7" name="Rounded Rectangle 37"/>
            <p:cNvSpPr>
              <a:spLocks/>
            </p:cNvSpPr>
            <p:nvPr/>
          </p:nvSpPr>
          <p:spPr>
            <a:xfrm>
              <a:off x="462906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err="1">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Nosql</a:t>
              </a:r>
              <a:endPar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err="1">
                  <a:ln>
                    <a:noFill/>
                  </a:ln>
                  <a:gradFill>
                    <a:gsLst>
                      <a:gs pos="2917">
                        <a:schemeClr val="bg1"/>
                      </a:gs>
                      <a:gs pos="100000">
                        <a:schemeClr val="bg1"/>
                      </a:gs>
                    </a:gsLst>
                    <a:lin ang="5400000" scaled="0"/>
                  </a:gradFill>
                  <a:effectLst/>
                  <a:uLnTx/>
                  <a:uFillTx/>
                  <a:latin typeface="+mn-lt"/>
                  <a:ea typeface="+mn-ea"/>
                  <a:cs typeface="Arial"/>
                </a:rPr>
                <a:t>Hbase</a:t>
              </a:r>
              <a:endPar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err="1">
                  <a:ln>
                    <a:noFill/>
                  </a:ln>
                  <a:gradFill>
                    <a:gsLst>
                      <a:gs pos="2917">
                        <a:schemeClr val="bg1"/>
                      </a:gs>
                      <a:gs pos="100000">
                        <a:schemeClr val="bg1"/>
                      </a:gs>
                    </a:gsLst>
                    <a:lin ang="5400000" scaled="0"/>
                  </a:gradFill>
                  <a:effectLst/>
                  <a:uLnTx/>
                  <a:uFillTx/>
                  <a:latin typeface="+mn-lt"/>
                  <a:ea typeface="+mn-ea"/>
                  <a:cs typeface="Arial"/>
                </a:rPr>
                <a:t>Accumulo</a:t>
              </a:r>
              <a:endPar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57" name="Rounded Rectangle 37"/>
            <p:cNvSpPr>
              <a:spLocks/>
            </p:cNvSpPr>
            <p:nvPr/>
          </p:nvSpPr>
          <p:spPr>
            <a:xfrm>
              <a:off x="520769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tream</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torm</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68" name="Rounded Rectangle 37"/>
            <p:cNvSpPr>
              <a:spLocks/>
            </p:cNvSpPr>
            <p:nvPr/>
          </p:nvSpPr>
          <p:spPr>
            <a:xfrm>
              <a:off x="6364972" y="4443822"/>
              <a:ext cx="677647"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Others</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park, </a:t>
              </a:r>
              <a:b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b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in-memory,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ISV engines</a:t>
              </a:r>
            </a:p>
          </p:txBody>
        </p:sp>
        <p:grpSp>
          <p:nvGrpSpPr>
            <p:cNvPr id="169" name="Group 168"/>
            <p:cNvGrpSpPr/>
            <p:nvPr/>
          </p:nvGrpSpPr>
          <p:grpSpPr>
            <a:xfrm>
              <a:off x="2893160" y="5666724"/>
              <a:ext cx="4149597" cy="644912"/>
              <a:chOff x="2499285" y="4541714"/>
              <a:chExt cx="3308943" cy="727355"/>
            </a:xfrm>
            <a:solidFill>
              <a:schemeClr val="bg1">
                <a:lumMod val="85000"/>
              </a:schemeClr>
            </a:solidFill>
          </p:grpSpPr>
          <p:grpSp>
            <p:nvGrpSpPr>
              <p:cNvPr id="198" name="Group 197"/>
              <p:cNvGrpSpPr/>
              <p:nvPr/>
            </p:nvGrpSpPr>
            <p:grpSpPr>
              <a:xfrm>
                <a:off x="2499285" y="4541714"/>
                <a:ext cx="3001931" cy="727355"/>
                <a:chOff x="2573538" y="3889648"/>
                <a:chExt cx="3001931" cy="727355"/>
              </a:xfrm>
              <a:grpFill/>
            </p:grpSpPr>
            <p:sp>
              <p:nvSpPr>
                <p:cNvPr id="212" name="Rounded Rectangle 211"/>
                <p:cNvSpPr>
                  <a:spLocks/>
                </p:cNvSpPr>
                <p:nvPr/>
              </p:nvSpPr>
              <p:spPr>
                <a:xfrm>
                  <a:off x="257353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1</a:t>
                  </a:r>
                </a:p>
              </p:txBody>
            </p:sp>
            <p:sp>
              <p:nvSpPr>
                <p:cNvPr id="213" name="Rounded Rectangle 212"/>
                <p:cNvSpPr>
                  <a:spLocks/>
                </p:cNvSpPr>
                <p:nvPr/>
              </p:nvSpPr>
              <p:spPr>
                <a:xfrm>
                  <a:off x="287697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4" name="Rounded Rectangle 213"/>
                <p:cNvSpPr>
                  <a:spLocks/>
                </p:cNvSpPr>
                <p:nvPr/>
              </p:nvSpPr>
              <p:spPr>
                <a:xfrm>
                  <a:off x="318041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6" name="Rounded Rectangle 215"/>
                <p:cNvSpPr>
                  <a:spLocks/>
                </p:cNvSpPr>
                <p:nvPr/>
              </p:nvSpPr>
              <p:spPr>
                <a:xfrm>
                  <a:off x="348384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7" name="Rounded Rectangle 216"/>
                <p:cNvSpPr>
                  <a:spLocks/>
                </p:cNvSpPr>
                <p:nvPr/>
              </p:nvSpPr>
              <p:spPr>
                <a:xfrm>
                  <a:off x="378728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29" name="Rounded Rectangle 228"/>
                <p:cNvSpPr>
                  <a:spLocks/>
                </p:cNvSpPr>
                <p:nvPr/>
              </p:nvSpPr>
              <p:spPr>
                <a:xfrm>
                  <a:off x="409071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0" name="Rounded Rectangle 229"/>
                <p:cNvSpPr>
                  <a:spLocks/>
                </p:cNvSpPr>
                <p:nvPr/>
              </p:nvSpPr>
              <p:spPr>
                <a:xfrm>
                  <a:off x="439415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1" name="Rounded Rectangle 230"/>
                <p:cNvSpPr>
                  <a:spLocks/>
                </p:cNvSpPr>
                <p:nvPr/>
              </p:nvSpPr>
              <p:spPr>
                <a:xfrm>
                  <a:off x="469759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2" name="Rounded Rectangle 231"/>
                <p:cNvSpPr>
                  <a:spLocks/>
                </p:cNvSpPr>
                <p:nvPr/>
              </p:nvSpPr>
              <p:spPr>
                <a:xfrm>
                  <a:off x="500102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3" name="Rounded Rectangle 232"/>
                <p:cNvSpPr>
                  <a:spLocks/>
                </p:cNvSpPr>
                <p:nvPr/>
              </p:nvSpPr>
              <p:spPr>
                <a:xfrm>
                  <a:off x="530446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4" name="Rounded Rectangle 233"/>
                <p:cNvSpPr>
                  <a:spLocks/>
                </p:cNvSpPr>
                <p:nvPr/>
              </p:nvSpPr>
              <p:spPr>
                <a:xfrm>
                  <a:off x="257353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5" name="Rounded Rectangle 234"/>
                <p:cNvSpPr>
                  <a:spLocks/>
                </p:cNvSpPr>
                <p:nvPr/>
              </p:nvSpPr>
              <p:spPr>
                <a:xfrm>
                  <a:off x="287697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6" name="Rounded Rectangle 235"/>
                <p:cNvSpPr>
                  <a:spLocks/>
                </p:cNvSpPr>
                <p:nvPr/>
              </p:nvSpPr>
              <p:spPr>
                <a:xfrm>
                  <a:off x="318041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7" name="Rounded Rectangle 236"/>
                <p:cNvSpPr>
                  <a:spLocks/>
                </p:cNvSpPr>
                <p:nvPr/>
              </p:nvSpPr>
              <p:spPr>
                <a:xfrm>
                  <a:off x="348384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8" name="Rounded Rectangle 237"/>
                <p:cNvSpPr>
                  <a:spLocks/>
                </p:cNvSpPr>
                <p:nvPr/>
              </p:nvSpPr>
              <p:spPr>
                <a:xfrm>
                  <a:off x="378728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9" name="Rounded Rectangle 238"/>
                <p:cNvSpPr>
                  <a:spLocks/>
                </p:cNvSpPr>
                <p:nvPr/>
              </p:nvSpPr>
              <p:spPr>
                <a:xfrm>
                  <a:off x="409071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0" name="Rounded Rectangle 239"/>
                <p:cNvSpPr>
                  <a:spLocks/>
                </p:cNvSpPr>
                <p:nvPr/>
              </p:nvSpPr>
              <p:spPr>
                <a:xfrm>
                  <a:off x="439415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1" name="Rounded Rectangle 240"/>
                <p:cNvSpPr>
                  <a:spLocks/>
                </p:cNvSpPr>
                <p:nvPr/>
              </p:nvSpPr>
              <p:spPr>
                <a:xfrm>
                  <a:off x="469759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2" name="Rounded Rectangle 241"/>
                <p:cNvSpPr>
                  <a:spLocks/>
                </p:cNvSpPr>
                <p:nvPr/>
              </p:nvSpPr>
              <p:spPr>
                <a:xfrm>
                  <a:off x="500102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3" name="Rounded Rectangle 242"/>
                <p:cNvSpPr>
                  <a:spLocks/>
                </p:cNvSpPr>
                <p:nvPr/>
              </p:nvSpPr>
              <p:spPr>
                <a:xfrm>
                  <a:off x="530446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4" name="Rounded Rectangle 243"/>
                <p:cNvSpPr>
                  <a:spLocks/>
                </p:cNvSpPr>
                <p:nvPr/>
              </p:nvSpPr>
              <p:spPr>
                <a:xfrm>
                  <a:off x="257353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5" name="Rounded Rectangle 244"/>
                <p:cNvSpPr>
                  <a:spLocks/>
                </p:cNvSpPr>
                <p:nvPr/>
              </p:nvSpPr>
              <p:spPr>
                <a:xfrm>
                  <a:off x="287697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6" name="Rounded Rectangle 245"/>
                <p:cNvSpPr>
                  <a:spLocks/>
                </p:cNvSpPr>
                <p:nvPr/>
              </p:nvSpPr>
              <p:spPr>
                <a:xfrm>
                  <a:off x="318041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7" name="Rounded Rectangle 246"/>
                <p:cNvSpPr>
                  <a:spLocks/>
                </p:cNvSpPr>
                <p:nvPr/>
              </p:nvSpPr>
              <p:spPr>
                <a:xfrm>
                  <a:off x="348384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8" name="Rounded Rectangle 247"/>
                <p:cNvSpPr>
                  <a:spLocks/>
                </p:cNvSpPr>
                <p:nvPr/>
              </p:nvSpPr>
              <p:spPr>
                <a:xfrm>
                  <a:off x="378728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9" name="Rounded Rectangle 248"/>
                <p:cNvSpPr>
                  <a:spLocks/>
                </p:cNvSpPr>
                <p:nvPr/>
              </p:nvSpPr>
              <p:spPr>
                <a:xfrm>
                  <a:off x="409071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50" name="Rounded Rectangle 249"/>
                <p:cNvSpPr>
                  <a:spLocks/>
                </p:cNvSpPr>
                <p:nvPr/>
              </p:nvSpPr>
              <p:spPr>
                <a:xfrm>
                  <a:off x="439415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dirty="0">
                    <a:ln>
                      <a:noFill/>
                    </a:ln>
                    <a:noFill/>
                    <a:effectLst/>
                    <a:uLnTx/>
                    <a:uFillTx/>
                    <a:latin typeface="+mn-lt"/>
                    <a:ea typeface="+mn-ea"/>
                    <a:cs typeface="Arial"/>
                  </a:endParaRPr>
                </a:p>
              </p:txBody>
            </p:sp>
            <p:sp>
              <p:nvSpPr>
                <p:cNvPr id="251" name="Rounded Rectangle 250"/>
                <p:cNvSpPr>
                  <a:spLocks/>
                </p:cNvSpPr>
                <p:nvPr/>
              </p:nvSpPr>
              <p:spPr>
                <a:xfrm>
                  <a:off x="469759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dirty="0">
                    <a:ln>
                      <a:noFill/>
                    </a:ln>
                    <a:noFill/>
                    <a:effectLst/>
                    <a:uLnTx/>
                    <a:uFillTx/>
                    <a:latin typeface="+mn-lt"/>
                    <a:ea typeface="+mn-ea"/>
                    <a:cs typeface="Arial"/>
                  </a:endParaRPr>
                </a:p>
              </p:txBody>
            </p:sp>
            <p:sp>
              <p:nvSpPr>
                <p:cNvPr id="252" name="Rounded Rectangle 251"/>
                <p:cNvSpPr>
                  <a:spLocks/>
                </p:cNvSpPr>
                <p:nvPr/>
              </p:nvSpPr>
              <p:spPr>
                <a:xfrm>
                  <a:off x="500102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53" name="Rounded Rectangle 252"/>
                <p:cNvSpPr>
                  <a:spLocks/>
                </p:cNvSpPr>
                <p:nvPr/>
              </p:nvSpPr>
              <p:spPr>
                <a:xfrm>
                  <a:off x="530446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grpSp>
          <p:sp>
            <p:nvSpPr>
              <p:cNvPr id="200" name="Rounded Rectangle 199"/>
              <p:cNvSpPr>
                <a:spLocks/>
              </p:cNvSpPr>
              <p:nvPr/>
            </p:nvSpPr>
            <p:spPr>
              <a:xfrm>
                <a:off x="5537221" y="454171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01" name="Rounded Rectangle 200"/>
              <p:cNvSpPr>
                <a:spLocks/>
              </p:cNvSpPr>
              <p:nvPr/>
            </p:nvSpPr>
            <p:spPr>
              <a:xfrm>
                <a:off x="5537221" y="479741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08" name="Rounded Rectangle 207"/>
              <p:cNvSpPr>
                <a:spLocks/>
              </p:cNvSpPr>
              <p:nvPr/>
            </p:nvSpPr>
            <p:spPr>
              <a:xfrm>
                <a:off x="5537221" y="5049760"/>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1" i="0" u="none" strike="noStrike" kern="1200" cap="none" spc="0" normalizeH="0" baseline="0" noProof="0" dirty="0">
                    <a:ln>
                      <a:noFill/>
                    </a:ln>
                    <a:noFill/>
                    <a:effectLst/>
                    <a:uLnTx/>
                    <a:uFillTx/>
                    <a:latin typeface="+mn-lt"/>
                    <a:ea typeface="+mn-ea"/>
                    <a:cs typeface="Arial"/>
                  </a:rPr>
                  <a:t>N</a:t>
                </a:r>
              </a:p>
            </p:txBody>
          </p:sp>
        </p:grpSp>
        <p:sp>
          <p:nvSpPr>
            <p:cNvPr id="170" name="Rounded Rectangle 37"/>
            <p:cNvSpPr>
              <a:spLocks/>
            </p:cNvSpPr>
            <p:nvPr/>
          </p:nvSpPr>
          <p:spPr>
            <a:xfrm>
              <a:off x="289315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Batch</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Map reduce</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92" name="Rectangle 191"/>
            <p:cNvSpPr/>
            <p:nvPr/>
          </p:nvSpPr>
          <p:spPr>
            <a:xfrm>
              <a:off x="2804593" y="3963789"/>
              <a:ext cx="4346139"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Data access</a:t>
              </a:r>
            </a:p>
          </p:txBody>
        </p:sp>
        <p:sp>
          <p:nvSpPr>
            <p:cNvPr id="196" name="Rectangle 195"/>
            <p:cNvSpPr/>
            <p:nvPr/>
          </p:nvSpPr>
          <p:spPr>
            <a:xfrm>
              <a:off x="2893159" y="5666724"/>
              <a:ext cx="4149598" cy="644912"/>
            </a:xfrm>
            <a:prstGeom prst="rect">
              <a:avLst/>
            </a:prstGeom>
            <a:solidFill>
              <a:schemeClr val="tx1">
                <a:alpha val="13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206178" rIns="179285" bIns="143428" rtlCol="0" anchor="t" anchorCtr="0"/>
            <a:lstStyle/>
            <a:p>
              <a:pPr marL="0" marR="0" lvl="0" indent="0" defTabSz="448193"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2917">
                        <a:schemeClr val="tx1"/>
                      </a:gs>
                      <a:gs pos="100000">
                        <a:schemeClr val="tx1"/>
                      </a:gs>
                    </a:gsLst>
                    <a:lin ang="5400000" scaled="0"/>
                  </a:gradFill>
                  <a:effectLst/>
                  <a:uLnTx/>
                  <a:uFillTx/>
                  <a:cs typeface="Arial"/>
                </a:rPr>
                <a:t>HDFS  (Hadoop Distributed File System)</a:t>
              </a:r>
            </a:p>
          </p:txBody>
        </p:sp>
        <p:sp>
          <p:nvSpPr>
            <p:cNvPr id="197" name="Rectangle 196"/>
            <p:cNvSpPr/>
            <p:nvPr/>
          </p:nvSpPr>
          <p:spPr>
            <a:xfrm>
              <a:off x="2893160" y="6352603"/>
              <a:ext cx="4149459" cy="228600"/>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35857" rIns="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Data management</a:t>
              </a:r>
            </a:p>
          </p:txBody>
        </p:sp>
      </p:grpSp>
      <p:grpSp>
        <p:nvGrpSpPr>
          <p:cNvPr id="254" name="Group 253"/>
          <p:cNvGrpSpPr/>
          <p:nvPr/>
        </p:nvGrpSpPr>
        <p:grpSpPr>
          <a:xfrm>
            <a:off x="7049762" y="3606309"/>
            <a:ext cx="2290920" cy="2619437"/>
            <a:chOff x="7217409" y="3963789"/>
            <a:chExt cx="2336858" cy="2671962"/>
          </a:xfrm>
        </p:grpSpPr>
        <p:sp>
          <p:nvSpPr>
            <p:cNvPr id="255" name="Rectangle 254"/>
            <p:cNvSpPr/>
            <p:nvPr/>
          </p:nvSpPr>
          <p:spPr>
            <a:xfrm>
              <a:off x="7217409" y="4366380"/>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uthenticati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uthorizati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ccounting</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Data protection</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Storage: HDFS</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Resources: YAR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ccess: Hive, …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Pipeline: Falc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Cluster: Knox</a:t>
              </a:r>
            </a:p>
          </p:txBody>
        </p:sp>
        <p:sp>
          <p:nvSpPr>
            <p:cNvPr id="256" name="Rectangle 255"/>
            <p:cNvSpPr/>
            <p:nvPr/>
          </p:nvSpPr>
          <p:spPr>
            <a:xfrm>
              <a:off x="7217409"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Security</a:t>
              </a:r>
            </a:p>
          </p:txBody>
        </p:sp>
      </p:grpSp>
      <p:grpSp>
        <p:nvGrpSpPr>
          <p:cNvPr id="257" name="Group 256"/>
          <p:cNvGrpSpPr/>
          <p:nvPr/>
        </p:nvGrpSpPr>
        <p:grpSpPr>
          <a:xfrm>
            <a:off x="9397577" y="3606309"/>
            <a:ext cx="2290920" cy="2619437"/>
            <a:chOff x="9611417" y="3963789"/>
            <a:chExt cx="2336858" cy="2671962"/>
          </a:xfrm>
        </p:grpSpPr>
        <p:sp>
          <p:nvSpPr>
            <p:cNvPr id="258" name="Rectangle 257"/>
            <p:cNvSpPr/>
            <p:nvPr/>
          </p:nvSpPr>
          <p:spPr>
            <a:xfrm>
              <a:off x="9611417"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Operations</a:t>
              </a:r>
            </a:p>
          </p:txBody>
        </p:sp>
        <p:sp>
          <p:nvSpPr>
            <p:cNvPr id="259" name="Rectangle 258"/>
            <p:cNvSpPr/>
            <p:nvPr/>
          </p:nvSpPr>
          <p:spPr>
            <a:xfrm>
              <a:off x="9611417" y="4366380"/>
              <a:ext cx="2336858" cy="130034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Provision, manage, and monito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Ambari</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Zookeepe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sp>
          <p:nvSpPr>
            <p:cNvPr id="260" name="Rectangle 259"/>
            <p:cNvSpPr/>
            <p:nvPr/>
          </p:nvSpPr>
          <p:spPr>
            <a:xfrm>
              <a:off x="9611417" y="5716587"/>
              <a:ext cx="2336858" cy="91916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Schedulin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Oozie</a:t>
              </a: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grpSp>
    </p:spTree>
    <p:extLst>
      <p:ext uri="{BB962C8B-B14F-4D97-AF65-F5344CB8AC3E}">
        <p14:creationId xmlns:p14="http://schemas.microsoft.com/office/powerpoint/2010/main" val="21118372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icrosoft Tools for Big Data Batch Process</a:t>
            </a:r>
          </a:p>
        </p:txBody>
      </p:sp>
      <p:sp>
        <p:nvSpPr>
          <p:cNvPr id="3" name="Content Placeholder 2"/>
          <p:cNvSpPr>
            <a:spLocks noGrp="1"/>
          </p:cNvSpPr>
          <p:nvPr>
            <p:ph sz="quarter" idx="10"/>
          </p:nvPr>
        </p:nvSpPr>
        <p:spPr/>
        <p:txBody>
          <a:bodyPr/>
          <a:lstStyle/>
          <a:p>
            <a:r>
              <a:rPr lang="en-US" dirty="0"/>
              <a:t>Microsoft Azure HDInsight</a:t>
            </a:r>
          </a:p>
          <a:p>
            <a:r>
              <a:rPr lang="en-GB" dirty="0"/>
              <a:t>Azure </a:t>
            </a:r>
            <a:r>
              <a:rPr lang="en-GB" dirty="0" err="1"/>
              <a:t>Datalake</a:t>
            </a:r>
            <a:r>
              <a:rPr lang="en-GB" dirty="0"/>
              <a:t> Store/Analytics</a:t>
            </a:r>
          </a:p>
          <a:p>
            <a:r>
              <a:rPr lang="en-US" dirty="0"/>
              <a:t>Azure SQL Data Warehouse</a:t>
            </a:r>
          </a:p>
          <a:p>
            <a:r>
              <a:rPr lang="en-US" dirty="0"/>
              <a:t>SQL Server </a:t>
            </a:r>
            <a:r>
              <a:rPr lang="en-US" dirty="0" err="1"/>
              <a:t>PolyBase</a:t>
            </a:r>
            <a:endParaRPr lang="en-US" dirty="0"/>
          </a:p>
          <a:p>
            <a:r>
              <a:rPr lang="en-US" dirty="0"/>
              <a:t>Azure SQL Database</a:t>
            </a:r>
          </a:p>
          <a:p>
            <a:r>
              <a:rPr lang="en-GB" dirty="0"/>
              <a:t>SQL Server Integration Services</a:t>
            </a:r>
          </a:p>
          <a:p>
            <a:r>
              <a:rPr lang="en-GB" dirty="0"/>
              <a:t>Azure Storage</a:t>
            </a:r>
          </a:p>
        </p:txBody>
      </p:sp>
    </p:spTree>
    <p:extLst>
      <p:ext uri="{BB962C8B-B14F-4D97-AF65-F5344CB8AC3E}">
        <p14:creationId xmlns:p14="http://schemas.microsoft.com/office/powerpoint/2010/main" val="1869063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DA5E2-1F33-4D33-B69B-71D44B485BD9}"/>
              </a:ext>
            </a:extLst>
          </p:cNvPr>
          <p:cNvSpPr>
            <a:spLocks noGrp="1"/>
          </p:cNvSpPr>
          <p:nvPr>
            <p:ph type="title"/>
          </p:nvPr>
        </p:nvSpPr>
        <p:spPr/>
        <p:txBody>
          <a:bodyPr/>
          <a:lstStyle/>
          <a:p>
            <a:r>
              <a:rPr lang="en-US" dirty="0"/>
              <a:t>Azure Data Lake Analytics</a:t>
            </a:r>
          </a:p>
        </p:txBody>
      </p:sp>
      <p:sp>
        <p:nvSpPr>
          <p:cNvPr id="3" name="Content Placeholder 2">
            <a:extLst>
              <a:ext uri="{FF2B5EF4-FFF2-40B4-BE49-F238E27FC236}">
                <a16:creationId xmlns:a16="http://schemas.microsoft.com/office/drawing/2014/main" id="{503E1FFA-29D7-4460-8184-82DB6ED93A57}"/>
              </a:ext>
            </a:extLst>
          </p:cNvPr>
          <p:cNvSpPr>
            <a:spLocks noGrp="1"/>
          </p:cNvSpPr>
          <p:nvPr>
            <p:ph sz="quarter" idx="10"/>
          </p:nvPr>
        </p:nvSpPr>
        <p:spPr/>
        <p:txBody>
          <a:bodyPr/>
          <a:lstStyle/>
          <a:p>
            <a:r>
              <a:rPr lang="en-US" dirty="0"/>
              <a:t>Big Data as a service</a:t>
            </a:r>
          </a:p>
          <a:p>
            <a:r>
              <a:rPr lang="en-US" dirty="0"/>
              <a:t>Built on top of Azure Data Lake Store with petabyte storage</a:t>
            </a:r>
          </a:p>
          <a:p>
            <a:r>
              <a:rPr lang="en-US" dirty="0"/>
              <a:t>Query based scalable compute built on YARN</a:t>
            </a:r>
          </a:p>
          <a:p>
            <a:r>
              <a:rPr lang="en-US" dirty="0"/>
              <a:t>Introduces U-SQL query language</a:t>
            </a:r>
          </a:p>
          <a:p>
            <a:r>
              <a:rPr lang="en-US" kern="1200" dirty="0"/>
              <a:t>simple, declarative nature of SQL with the expressive power of C#</a:t>
            </a:r>
            <a:endParaRPr lang="en-US" dirty="0"/>
          </a:p>
          <a:p>
            <a:endParaRPr lang="en-US" dirty="0"/>
          </a:p>
          <a:p>
            <a:endParaRPr lang="en-US" dirty="0"/>
          </a:p>
        </p:txBody>
      </p:sp>
    </p:spTree>
    <p:extLst>
      <p:ext uri="{BB962C8B-B14F-4D97-AF65-F5344CB8AC3E}">
        <p14:creationId xmlns:p14="http://schemas.microsoft.com/office/powerpoint/2010/main" val="3407995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5.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rgbClr val="FF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25FDD9-4C58-4084-9F89-0E6ADD6FFF55}">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636b0322-90fb-440c-9cbc-22749e7231e9"/>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A13EC-1D3C-4D6F-8D1C-E8A452CFC7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973</TotalTime>
  <Words>6657</Words>
  <Application>Microsoft Office PowerPoint</Application>
  <PresentationFormat>Widescreen</PresentationFormat>
  <Paragraphs>1008</Paragraphs>
  <Slides>59</Slides>
  <Notes>59</Notes>
  <HiddenSlides>3</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59</vt:i4>
      </vt:variant>
    </vt:vector>
  </HeadingPairs>
  <TitlesOfParts>
    <vt:vector size="81" baseType="lpstr">
      <vt:lpstr>MS PGothic</vt:lpstr>
      <vt:lpstr>MS PGothic</vt:lpstr>
      <vt:lpstr>Arial</vt:lpstr>
      <vt:lpstr>Calibri</vt:lpstr>
      <vt:lpstr>Consolas</vt:lpstr>
      <vt:lpstr>Courier New</vt:lpstr>
      <vt:lpstr>Segoe</vt:lpstr>
      <vt:lpstr>Segoe Pro Light</vt:lpstr>
      <vt:lpstr>Segoe Semibold</vt:lpstr>
      <vt:lpstr>Segoe UI</vt:lpstr>
      <vt:lpstr>Segoe UI Light</vt:lpstr>
      <vt:lpstr>Segoe UI Semibold</vt:lpstr>
      <vt:lpstr>Segoe UI Semilight</vt:lpstr>
      <vt:lpstr>Verdana</vt:lpstr>
      <vt:lpstr>Wingdings</vt:lpstr>
      <vt:lpstr>1_Office Theme</vt:lpstr>
      <vt:lpstr>2_Office Theme</vt:lpstr>
      <vt:lpstr>3_Theme1</vt:lpstr>
      <vt:lpstr>STB Product Families 2015</vt:lpstr>
      <vt:lpstr>2_COLOR TEMPLATE</vt:lpstr>
      <vt:lpstr>Theme1</vt:lpstr>
      <vt:lpstr>think-cell Slide</vt:lpstr>
      <vt:lpstr>PowerPoint Presentation</vt:lpstr>
      <vt:lpstr>Big data batch Processing</vt:lpstr>
      <vt:lpstr>Lambda Architecture on Azure</vt:lpstr>
      <vt:lpstr>Lambda Architecture – batch characteristics</vt:lpstr>
      <vt:lpstr>Hadoop – What is it?</vt:lpstr>
      <vt:lpstr>Hadoop</vt:lpstr>
      <vt:lpstr>Hadoop is a platform with portfolio of projects</vt:lpstr>
      <vt:lpstr>Microsoft Tools for Big Data Batch Process</vt:lpstr>
      <vt:lpstr>Azure Data Lake Analytics</vt:lpstr>
      <vt:lpstr>Azure Data Lake</vt:lpstr>
      <vt:lpstr>Azure SQL Data Warehouse</vt:lpstr>
      <vt:lpstr>MPP architecture - Concepts</vt:lpstr>
      <vt:lpstr>PowerPoint Presentation</vt:lpstr>
      <vt:lpstr>Polybase </vt:lpstr>
      <vt:lpstr>In this module </vt:lpstr>
      <vt:lpstr>Where will you land the big data</vt:lpstr>
      <vt:lpstr>Azure Storage Tier Types – Standard &amp; Premium</vt:lpstr>
      <vt:lpstr>Storage Availability, Durability</vt:lpstr>
      <vt:lpstr>Azure Data Lake Store</vt:lpstr>
      <vt:lpstr>HDFS – What is it?</vt:lpstr>
      <vt:lpstr>Block Size</vt:lpstr>
      <vt:lpstr>Replication Factor, File Size</vt:lpstr>
      <vt:lpstr>How will you load data</vt:lpstr>
      <vt:lpstr>Interactive Data Ingestion</vt:lpstr>
      <vt:lpstr>Loading Relational Data</vt:lpstr>
      <vt:lpstr>In this module </vt:lpstr>
      <vt:lpstr>Azure HDInsight cluster type</vt:lpstr>
      <vt:lpstr>Cluster customization options</vt:lpstr>
      <vt:lpstr>HDInsight cluster architecture</vt:lpstr>
      <vt:lpstr>HDInsight Cluster Type &amp; Nodes</vt:lpstr>
      <vt:lpstr>HDInsight service entry points</vt:lpstr>
      <vt:lpstr>PowerPoint Presentation</vt:lpstr>
      <vt:lpstr>In this module </vt:lpstr>
      <vt:lpstr>Overview of Big Data Processing</vt:lpstr>
      <vt:lpstr>Hadoop MapReduce Concept</vt:lpstr>
      <vt:lpstr>Map/Reduce</vt:lpstr>
      <vt:lpstr>MapReduce: How it works</vt:lpstr>
      <vt:lpstr>Map/Reduce Code in Hadoop</vt:lpstr>
      <vt:lpstr>Hive Overview</vt:lpstr>
      <vt:lpstr>What is Hive?</vt:lpstr>
      <vt:lpstr>Hive query language</vt:lpstr>
      <vt:lpstr>Creating Hive Tables</vt:lpstr>
      <vt:lpstr>CREATE TABLE</vt:lpstr>
      <vt:lpstr>Loading Data into Hive Tables</vt:lpstr>
      <vt:lpstr>Querying Hive Tables with HiveQL</vt:lpstr>
      <vt:lpstr>HiveQL: Execution Flow   </vt:lpstr>
      <vt:lpstr>Hive Summary</vt:lpstr>
      <vt:lpstr>Pig Overview</vt:lpstr>
      <vt:lpstr>What is Pig?</vt:lpstr>
      <vt:lpstr>Pig—Where it fits</vt:lpstr>
      <vt:lpstr>Pig Latin</vt:lpstr>
      <vt:lpstr>Common Pig Latin Operations</vt:lpstr>
      <vt:lpstr>Pig Latin and Map/Reduce</vt:lpstr>
      <vt:lpstr>Pig Summary</vt:lpstr>
      <vt:lpstr>Big Data Processing Summary</vt:lpstr>
      <vt:lpstr>In this module </vt:lpstr>
      <vt:lpstr>Security</vt:lpstr>
      <vt:lpstr>Security best practic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 Gartland</dc:creator>
  <cp:lastModifiedBy>Jaladhi Mehta</cp:lastModifiedBy>
  <cp:revision>433</cp:revision>
  <dcterms:created xsi:type="dcterms:W3CDTF">2013-02-15T23:12:42Z</dcterms:created>
  <dcterms:modified xsi:type="dcterms:W3CDTF">2017-12-12T01:0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jameht@microsoft.com</vt:lpwstr>
  </property>
  <property fmtid="{D5CDD505-2E9C-101B-9397-08002B2CF9AE}" pid="12" name="MSIP_Label_f42aa342-8706-4288-bd11-ebb85995028c_SetDate">
    <vt:lpwstr>2017-12-08T17:13:07.9030269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ies>
</file>